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7" r:id="rId1"/>
    <p:sldMasterId id="2147483817" r:id="rId2"/>
  </p:sldMasterIdLst>
  <p:notesMasterIdLst>
    <p:notesMasterId r:id="rId11"/>
  </p:notesMasterIdLst>
  <p:sldIdLst>
    <p:sldId id="383" r:id="rId3"/>
    <p:sldId id="641" r:id="rId4"/>
    <p:sldId id="645" r:id="rId5"/>
    <p:sldId id="646" r:id="rId6"/>
    <p:sldId id="639" r:id="rId7"/>
    <p:sldId id="643" r:id="rId8"/>
    <p:sldId id="637" r:id="rId9"/>
    <p:sldId id="644" r:id="rId10"/>
  </p:sldIdLst>
  <p:sldSz cx="9144000" cy="5143500" type="screen16x9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INISTÈRIEL" id="{0B896E98-F45E-4768-8620-EDDF394BE181}">
          <p14:sldIdLst>
            <p14:sldId id="383"/>
            <p14:sldId id="641"/>
            <p14:sldId id="645"/>
            <p14:sldId id="646"/>
            <p14:sldId id="639"/>
            <p14:sldId id="643"/>
            <p14:sldId id="637"/>
            <p14:sldId id="64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orient="horz" pos="191">
          <p15:clr>
            <a:srgbClr val="A4A3A4"/>
          </p15:clr>
        </p15:guide>
        <p15:guide id="3" orient="horz" pos="854">
          <p15:clr>
            <a:srgbClr val="A4A3A4"/>
          </p15:clr>
        </p15:guide>
        <p15:guide id="4" orient="horz" pos="821">
          <p15:clr>
            <a:srgbClr val="A4A3A4"/>
          </p15:clr>
        </p15:guide>
        <p15:guide id="5" orient="horz" pos="3072" userDrawn="1">
          <p15:clr>
            <a:srgbClr val="A4A3A4"/>
          </p15:clr>
        </p15:guide>
        <p15:guide id="6" orient="horz" pos="3151">
          <p15:clr>
            <a:srgbClr val="A4A3A4"/>
          </p15:clr>
        </p15:guide>
        <p15:guide id="7" pos="2880">
          <p15:clr>
            <a:srgbClr val="A4A3A4"/>
          </p15:clr>
        </p15:guide>
        <p15:guide id="8" pos="476">
          <p15:clr>
            <a:srgbClr val="A4A3A4"/>
          </p15:clr>
        </p15:guide>
        <p15:guide id="9" pos="5193">
          <p15:clr>
            <a:srgbClr val="A4A3A4"/>
          </p15:clr>
        </p15:guide>
        <p15:guide id="10" pos="5465">
          <p15:clr>
            <a:srgbClr val="A4A3A4"/>
          </p15:clr>
        </p15:guide>
        <p15:guide id="11" orient="horz" pos="80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AA89"/>
    <a:srgbClr val="9E29A7"/>
    <a:srgbClr val="99CC00"/>
    <a:srgbClr val="F8A6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8603FDC-E32A-4AB5-989C-0864C3EAD2B8}" styleName="Style à thème 2 - Accentuation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97" autoAdjust="0"/>
    <p:restoredTop sz="93968" autoAdjust="0"/>
  </p:normalViewPr>
  <p:slideViewPr>
    <p:cSldViewPr showGuides="1">
      <p:cViewPr varScale="1">
        <p:scale>
          <a:sx n="91" d="100"/>
          <a:sy n="91" d="100"/>
        </p:scale>
        <p:origin x="648" y="78"/>
      </p:cViewPr>
      <p:guideLst>
        <p:guide orient="horz" pos="1620"/>
        <p:guide orient="horz" pos="191"/>
        <p:guide orient="horz" pos="854"/>
        <p:guide orient="horz" pos="821"/>
        <p:guide orient="horz" pos="3072"/>
        <p:guide orient="horz" pos="3151"/>
        <p:guide pos="2880"/>
        <p:guide pos="476"/>
        <p:guide pos="5193"/>
        <p:guide pos="5465"/>
        <p:guide orient="horz" pos="80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E626CF9-E8F5-4B25-A18C-C17F9D33B1B6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FF0CED43-F6C4-45CE-90FC-AC1B11AFEF26}">
      <dgm:prSet/>
      <dgm:spPr/>
      <dgm:t>
        <a:bodyPr/>
        <a:lstStyle/>
        <a:p>
          <a:pPr rtl="0"/>
          <a:r>
            <a:rPr lang="fr-FR" dirty="0" smtClean="0"/>
            <a:t>Les acteurs </a:t>
          </a:r>
          <a:endParaRPr lang="fr-FR" dirty="0"/>
        </a:p>
      </dgm:t>
    </dgm:pt>
    <dgm:pt modelId="{D43AFF01-CCD2-4D71-B7E0-EBEC04F37593}" type="parTrans" cxnId="{75AEAD91-0BC9-4253-8131-2AA97C207563}">
      <dgm:prSet/>
      <dgm:spPr/>
      <dgm:t>
        <a:bodyPr/>
        <a:lstStyle/>
        <a:p>
          <a:endParaRPr lang="fr-FR"/>
        </a:p>
      </dgm:t>
    </dgm:pt>
    <dgm:pt modelId="{C20CA812-E482-4E6A-A2DA-18B2C0E40FE1}" type="sibTrans" cxnId="{75AEAD91-0BC9-4253-8131-2AA97C207563}">
      <dgm:prSet/>
      <dgm:spPr/>
      <dgm:t>
        <a:bodyPr/>
        <a:lstStyle/>
        <a:p>
          <a:endParaRPr lang="fr-FR"/>
        </a:p>
      </dgm:t>
    </dgm:pt>
    <dgm:pt modelId="{73F3CBA4-FA06-42D0-A78C-1A320DEB48B3}" type="pres">
      <dgm:prSet presAssocID="{FE626CF9-E8F5-4B25-A18C-C17F9D33B1B6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D299A272-4021-4058-8B4D-7FC89A912450}" type="pres">
      <dgm:prSet presAssocID="{FF0CED43-F6C4-45CE-90FC-AC1B11AFEF26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75AEAD91-0BC9-4253-8131-2AA97C207563}" srcId="{FE626CF9-E8F5-4B25-A18C-C17F9D33B1B6}" destId="{FF0CED43-F6C4-45CE-90FC-AC1B11AFEF26}" srcOrd="0" destOrd="0" parTransId="{D43AFF01-CCD2-4D71-B7E0-EBEC04F37593}" sibTransId="{C20CA812-E482-4E6A-A2DA-18B2C0E40FE1}"/>
    <dgm:cxn modelId="{26AA5A2D-4706-4F50-80E8-78386B77ECCC}" type="presOf" srcId="{FF0CED43-F6C4-45CE-90FC-AC1B11AFEF26}" destId="{D299A272-4021-4058-8B4D-7FC89A912450}" srcOrd="0" destOrd="0" presId="urn:microsoft.com/office/officeart/2005/8/layout/vList2"/>
    <dgm:cxn modelId="{D6B1F83F-A3DA-43DC-88A8-6A7AF16364F7}" type="presOf" srcId="{FE626CF9-E8F5-4B25-A18C-C17F9D33B1B6}" destId="{73F3CBA4-FA06-42D0-A78C-1A320DEB48B3}" srcOrd="0" destOrd="0" presId="urn:microsoft.com/office/officeart/2005/8/layout/vList2"/>
    <dgm:cxn modelId="{6ED24F82-3EDB-460D-816E-7F5026172AA3}" type="presParOf" srcId="{73F3CBA4-FA06-42D0-A78C-1A320DEB48B3}" destId="{D299A272-4021-4058-8B4D-7FC89A91245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68A8A27-50BA-44EA-9883-E42E35A79A83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216C63D7-DDB1-461C-AA91-98E102A24BB6}">
      <dgm:prSet phldrT="[Texte]" custT="1"/>
      <dgm:spPr/>
      <dgm:t>
        <a:bodyPr/>
        <a:lstStyle/>
        <a:p>
          <a:r>
            <a:rPr lang="fr-FR" sz="800" dirty="0" smtClean="0"/>
            <a:t>MTE / DGALN</a:t>
          </a:r>
        </a:p>
        <a:p>
          <a:r>
            <a:rPr lang="fr-FR" sz="600" dirty="0" smtClean="0"/>
            <a:t>Direction de l’Habitat, de l’Urbanisme et des Paysages</a:t>
          </a:r>
        </a:p>
        <a:p>
          <a:r>
            <a:rPr lang="fr-FR" sz="600" dirty="0" smtClean="0"/>
            <a:t>Sous-direction de la qualité et du développement durable dans la construction</a:t>
          </a:r>
        </a:p>
        <a:p>
          <a:r>
            <a:rPr lang="fr-FR" sz="800" dirty="0" smtClean="0"/>
            <a:t>QC4 – Bureau de la réhabilitation du parc, des évaluations économiques et de l’outre-mer</a:t>
          </a:r>
        </a:p>
        <a:p>
          <a:r>
            <a:rPr lang="fr-FR" sz="800" dirty="0" smtClean="0"/>
            <a:t>---</a:t>
          </a:r>
        </a:p>
        <a:p>
          <a:r>
            <a:rPr lang="fr-FR" sz="800" dirty="0" smtClean="0"/>
            <a:t>Simon MARC</a:t>
          </a:r>
          <a:endParaRPr lang="fr-FR" sz="800" dirty="0"/>
        </a:p>
      </dgm:t>
    </dgm:pt>
    <dgm:pt modelId="{A94BAD67-15AA-4AD8-88BF-EBA19D0539A2}" type="parTrans" cxnId="{D8C58F1D-03A4-4C4F-AAF5-662DCB1C4415}">
      <dgm:prSet/>
      <dgm:spPr/>
      <dgm:t>
        <a:bodyPr/>
        <a:lstStyle/>
        <a:p>
          <a:endParaRPr lang="fr-FR"/>
        </a:p>
      </dgm:t>
    </dgm:pt>
    <dgm:pt modelId="{E80AA004-2745-4D28-82B0-77334B9713A5}" type="sibTrans" cxnId="{D8C58F1D-03A4-4C4F-AAF5-662DCB1C4415}">
      <dgm:prSet/>
      <dgm:spPr/>
      <dgm:t>
        <a:bodyPr/>
        <a:lstStyle/>
        <a:p>
          <a:endParaRPr lang="fr-FR"/>
        </a:p>
      </dgm:t>
    </dgm:pt>
    <dgm:pt modelId="{B3FA9471-BE7C-4F49-96A3-4E1D3EA101DE}">
      <dgm:prSet phldrT="[Texte]" custT="1"/>
      <dgm:spPr/>
      <dgm:t>
        <a:bodyPr/>
        <a:lstStyle/>
        <a:p>
          <a:r>
            <a:rPr lang="fr-FR" sz="800" dirty="0" smtClean="0"/>
            <a:t>CEREMA</a:t>
          </a:r>
        </a:p>
        <a:p>
          <a:r>
            <a:rPr lang="fr-FR" sz="600" dirty="0" smtClean="0"/>
            <a:t>Centre d’études et d’expertise sur les risques, l’environnement, la mobilité et l’environnement</a:t>
          </a:r>
        </a:p>
        <a:p>
          <a:r>
            <a:rPr lang="fr-FR" sz="600" dirty="0" smtClean="0"/>
            <a:t>Direction technique Territoires &amp; ville</a:t>
          </a:r>
        </a:p>
        <a:p>
          <a:r>
            <a:rPr lang="fr-FR" sz="800" dirty="0" smtClean="0"/>
            <a:t>Département bâtiment durable</a:t>
          </a:r>
        </a:p>
        <a:p>
          <a:r>
            <a:rPr lang="fr-FR" sz="800" dirty="0" smtClean="0"/>
            <a:t>---</a:t>
          </a:r>
        </a:p>
        <a:p>
          <a:r>
            <a:rPr lang="fr-FR" sz="800" dirty="0" smtClean="0"/>
            <a:t>Cédric LENTILLON</a:t>
          </a:r>
        </a:p>
        <a:p>
          <a:r>
            <a:rPr lang="fr-FR" sz="800" dirty="0" smtClean="0"/>
            <a:t>Rémy PUGEAT</a:t>
          </a:r>
          <a:endParaRPr lang="fr-FR" sz="800" dirty="0"/>
        </a:p>
      </dgm:t>
    </dgm:pt>
    <dgm:pt modelId="{56B44266-8E59-46B8-B4E4-11689142C481}" type="parTrans" cxnId="{81C7E654-6887-439C-93F8-FE37D0181525}">
      <dgm:prSet/>
      <dgm:spPr/>
      <dgm:t>
        <a:bodyPr/>
        <a:lstStyle/>
        <a:p>
          <a:endParaRPr lang="fr-FR"/>
        </a:p>
      </dgm:t>
    </dgm:pt>
    <dgm:pt modelId="{85C33AA6-E5B1-4544-9E22-B097A1CCF01B}" type="sibTrans" cxnId="{81C7E654-6887-439C-93F8-FE37D0181525}">
      <dgm:prSet/>
      <dgm:spPr/>
      <dgm:t>
        <a:bodyPr/>
        <a:lstStyle/>
        <a:p>
          <a:endParaRPr lang="fr-FR"/>
        </a:p>
      </dgm:t>
    </dgm:pt>
    <dgm:pt modelId="{B9D3BC87-0DCF-4035-8986-10BB5254BCA9}">
      <dgm:prSet custT="1"/>
      <dgm:spPr/>
      <dgm:t>
        <a:bodyPr/>
        <a:lstStyle/>
        <a:p>
          <a:r>
            <a:rPr lang="fr-FR" sz="800" dirty="0" smtClean="0"/>
            <a:t>MTE / SG</a:t>
          </a:r>
        </a:p>
        <a:p>
          <a:r>
            <a:rPr lang="fr-FR" sz="800" dirty="0" smtClean="0"/>
            <a:t>Direction des Ressources Humaines</a:t>
          </a:r>
        </a:p>
        <a:p>
          <a:r>
            <a:rPr lang="fr-FR" sz="800" dirty="0" smtClean="0"/>
            <a:t>…</a:t>
          </a:r>
        </a:p>
        <a:p>
          <a:r>
            <a:rPr lang="fr-FR" sz="800" dirty="0" smtClean="0"/>
            <a:t>Centre Ministérielle de Valorisation des ressources Humaines</a:t>
          </a:r>
        </a:p>
        <a:p>
          <a:r>
            <a:rPr lang="fr-FR" sz="800" dirty="0" smtClean="0"/>
            <a:t>---</a:t>
          </a:r>
        </a:p>
        <a:p>
          <a:r>
            <a:rPr lang="fr-FR" sz="800" i="0" dirty="0" smtClean="0"/>
            <a:t>Xavier WAECHTER </a:t>
          </a:r>
        </a:p>
        <a:p>
          <a:r>
            <a:rPr lang="fr-FR" sz="600" i="1" dirty="0" smtClean="0"/>
            <a:t>CVRH de Toulouse</a:t>
          </a:r>
        </a:p>
        <a:p>
          <a:r>
            <a:rPr lang="fr-FR" sz="800" i="0" dirty="0" smtClean="0"/>
            <a:t>Frédéric WAYMEL</a:t>
          </a:r>
        </a:p>
        <a:p>
          <a:r>
            <a:rPr lang="fr-FR" sz="600" i="1" dirty="0" smtClean="0"/>
            <a:t>CMA</a:t>
          </a:r>
        </a:p>
      </dgm:t>
    </dgm:pt>
    <dgm:pt modelId="{C025953B-F813-46C4-8E00-EA650E3376F6}" type="parTrans" cxnId="{69B84FD5-9653-42FD-AAF7-33C3AA449CDE}">
      <dgm:prSet/>
      <dgm:spPr/>
      <dgm:t>
        <a:bodyPr/>
        <a:lstStyle/>
        <a:p>
          <a:endParaRPr lang="fr-FR"/>
        </a:p>
      </dgm:t>
    </dgm:pt>
    <dgm:pt modelId="{B042240F-0CF1-4BA0-ABEB-41237ED1439C}" type="sibTrans" cxnId="{69B84FD5-9653-42FD-AAF7-33C3AA449CDE}">
      <dgm:prSet/>
      <dgm:spPr/>
      <dgm:t>
        <a:bodyPr/>
        <a:lstStyle/>
        <a:p>
          <a:endParaRPr lang="fr-FR"/>
        </a:p>
      </dgm:t>
    </dgm:pt>
    <dgm:pt modelId="{E5B59E08-3A1C-4BE6-84C9-67B98D68A107}">
      <dgm:prSet custT="1"/>
      <dgm:spPr/>
      <dgm:t>
        <a:bodyPr/>
        <a:lstStyle/>
        <a:p>
          <a:r>
            <a:rPr lang="fr-FR" sz="800" dirty="0" smtClean="0"/>
            <a:t>Ministère de l’Économie, des Finances et de la souveraineté industrielle et numérique</a:t>
          </a:r>
        </a:p>
        <a:p>
          <a:r>
            <a:rPr lang="fr-FR" sz="800" dirty="0" smtClean="0"/>
            <a:t>Direction de l’Immobilier de l’État</a:t>
          </a:r>
        </a:p>
        <a:p>
          <a:r>
            <a:rPr lang="fr-FR" sz="800" dirty="0" smtClean="0"/>
            <a:t>---</a:t>
          </a:r>
        </a:p>
        <a:p>
          <a:r>
            <a:rPr lang="fr-FR" sz="800" dirty="0" smtClean="0"/>
            <a:t>Laurence MAURETTE</a:t>
          </a:r>
        </a:p>
        <a:p>
          <a:r>
            <a:rPr lang="fr-FR" sz="800" dirty="0" smtClean="0"/>
            <a:t>Marion BESSIERE</a:t>
          </a:r>
        </a:p>
        <a:p>
          <a:r>
            <a:rPr lang="fr-FR" sz="800" dirty="0" smtClean="0"/>
            <a:t>Romain GORGES</a:t>
          </a:r>
          <a:endParaRPr lang="fr-FR" sz="800" dirty="0"/>
        </a:p>
      </dgm:t>
    </dgm:pt>
    <dgm:pt modelId="{04B4B358-1EA9-4A39-BC03-E90B24038BB3}" type="parTrans" cxnId="{2916CDB9-8DD5-4628-B6BD-3A391E32C900}">
      <dgm:prSet/>
      <dgm:spPr/>
      <dgm:t>
        <a:bodyPr/>
        <a:lstStyle/>
        <a:p>
          <a:endParaRPr lang="fr-FR"/>
        </a:p>
      </dgm:t>
    </dgm:pt>
    <dgm:pt modelId="{B705D30E-8257-409B-B247-BE6D3861CE60}" type="sibTrans" cxnId="{2916CDB9-8DD5-4628-B6BD-3A391E32C900}">
      <dgm:prSet/>
      <dgm:spPr/>
      <dgm:t>
        <a:bodyPr/>
        <a:lstStyle/>
        <a:p>
          <a:endParaRPr lang="fr-FR"/>
        </a:p>
      </dgm:t>
    </dgm:pt>
    <dgm:pt modelId="{F7B724AF-32A2-4524-82B5-A0434C7F289E}">
      <dgm:prSet custT="1"/>
      <dgm:spPr/>
      <dgm:t>
        <a:bodyPr/>
        <a:lstStyle/>
        <a:p>
          <a:r>
            <a:rPr lang="fr-FR" sz="600" dirty="0" smtClean="0"/>
            <a:t>Ministère de la transformation et de la fonction publiques</a:t>
          </a:r>
        </a:p>
        <a:p>
          <a:r>
            <a:rPr lang="fr-FR" sz="600" dirty="0" smtClean="0"/>
            <a:t>Direction Générale  de l’Administration et de la fonction publique</a:t>
          </a:r>
        </a:p>
        <a:p>
          <a:r>
            <a:rPr lang="fr-FR" sz="600" dirty="0" smtClean="0"/>
            <a:t>…</a:t>
          </a:r>
        </a:p>
        <a:p>
          <a:r>
            <a:rPr lang="fr-FR" sz="600" dirty="0" smtClean="0"/>
            <a:t>Bureau de la formation professionnelle tout au long de la vie</a:t>
          </a:r>
        </a:p>
        <a:p>
          <a:r>
            <a:rPr lang="fr-FR" sz="800" dirty="0" smtClean="0"/>
            <a:t>Programme interministériel Mentor</a:t>
          </a:r>
        </a:p>
        <a:p>
          <a:r>
            <a:rPr lang="fr-FR" sz="800" dirty="0" smtClean="0"/>
            <a:t>---</a:t>
          </a:r>
        </a:p>
        <a:p>
          <a:r>
            <a:rPr lang="fr-FR" sz="800" dirty="0" smtClean="0"/>
            <a:t>Sara BECARD</a:t>
          </a:r>
        </a:p>
        <a:p>
          <a:r>
            <a:rPr lang="fr-FR" sz="800" dirty="0" err="1" smtClean="0"/>
            <a:t>Genaël</a:t>
          </a:r>
          <a:r>
            <a:rPr lang="fr-FR" sz="800" dirty="0" smtClean="0"/>
            <a:t> VALET</a:t>
          </a:r>
          <a:endParaRPr lang="fr-FR" sz="800" dirty="0"/>
        </a:p>
      </dgm:t>
    </dgm:pt>
    <dgm:pt modelId="{11E4CDBD-6DFC-417C-B919-6D4245BA4F8E}" type="parTrans" cxnId="{AA9B4603-0ED8-44FC-A545-470424F73B56}">
      <dgm:prSet/>
      <dgm:spPr/>
      <dgm:t>
        <a:bodyPr/>
        <a:lstStyle/>
        <a:p>
          <a:endParaRPr lang="fr-FR"/>
        </a:p>
      </dgm:t>
    </dgm:pt>
    <dgm:pt modelId="{9A67EE5E-4945-4614-9E6A-DA6F52F43EF3}" type="sibTrans" cxnId="{AA9B4603-0ED8-44FC-A545-470424F73B56}">
      <dgm:prSet/>
      <dgm:spPr/>
      <dgm:t>
        <a:bodyPr/>
        <a:lstStyle/>
        <a:p>
          <a:endParaRPr lang="fr-FR"/>
        </a:p>
      </dgm:t>
    </dgm:pt>
    <dgm:pt modelId="{B4E5E714-493E-4AD4-B77A-A713DE4A18D5}" type="pres">
      <dgm:prSet presAssocID="{E68A8A27-50BA-44EA-9883-E42E35A79A83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B3C66833-81D7-4182-9653-4283CB2DE84D}" type="pres">
      <dgm:prSet presAssocID="{216C63D7-DDB1-461C-AA91-98E102A24BB6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55111A4-FFA7-4DA2-A2AE-EB7D82487840}" type="pres">
      <dgm:prSet presAssocID="{E80AA004-2745-4D28-82B0-77334B9713A5}" presName="sibTrans" presStyleLbl="sibTrans2D1" presStyleIdx="0" presStyleCnt="4"/>
      <dgm:spPr/>
      <dgm:t>
        <a:bodyPr/>
        <a:lstStyle/>
        <a:p>
          <a:endParaRPr lang="fr-FR"/>
        </a:p>
      </dgm:t>
    </dgm:pt>
    <dgm:pt modelId="{12C6CA20-6B5C-4E0A-9EE0-425673F7499B}" type="pres">
      <dgm:prSet presAssocID="{E80AA004-2745-4D28-82B0-77334B9713A5}" presName="connectorText" presStyleLbl="sibTrans2D1" presStyleIdx="0" presStyleCnt="4"/>
      <dgm:spPr/>
      <dgm:t>
        <a:bodyPr/>
        <a:lstStyle/>
        <a:p>
          <a:endParaRPr lang="fr-FR"/>
        </a:p>
      </dgm:t>
    </dgm:pt>
    <dgm:pt modelId="{AFC01FD3-D944-495E-A3DF-88E71951130E}" type="pres">
      <dgm:prSet presAssocID="{E5B59E08-3A1C-4BE6-84C9-67B98D68A107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2FEDEBA-8B99-4F1E-AC08-A1613B85AD5C}" type="pres">
      <dgm:prSet presAssocID="{B705D30E-8257-409B-B247-BE6D3861CE60}" presName="sibTrans" presStyleLbl="sibTrans2D1" presStyleIdx="1" presStyleCnt="4"/>
      <dgm:spPr/>
      <dgm:t>
        <a:bodyPr/>
        <a:lstStyle/>
        <a:p>
          <a:endParaRPr lang="fr-FR"/>
        </a:p>
      </dgm:t>
    </dgm:pt>
    <dgm:pt modelId="{A10E2569-2D43-4F95-BB22-938E64131C7E}" type="pres">
      <dgm:prSet presAssocID="{B705D30E-8257-409B-B247-BE6D3861CE60}" presName="connectorText" presStyleLbl="sibTrans2D1" presStyleIdx="1" presStyleCnt="4"/>
      <dgm:spPr/>
      <dgm:t>
        <a:bodyPr/>
        <a:lstStyle/>
        <a:p>
          <a:endParaRPr lang="fr-FR"/>
        </a:p>
      </dgm:t>
    </dgm:pt>
    <dgm:pt modelId="{259496D8-0B7C-49E3-BD72-930958D83D21}" type="pres">
      <dgm:prSet presAssocID="{B9D3BC87-0DCF-4035-8986-10BB5254BCA9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CEA678F-6447-41D7-94C4-60FD4D4C7BAA}" type="pres">
      <dgm:prSet presAssocID="{B042240F-0CF1-4BA0-ABEB-41237ED1439C}" presName="sibTrans" presStyleLbl="sibTrans2D1" presStyleIdx="2" presStyleCnt="4"/>
      <dgm:spPr/>
      <dgm:t>
        <a:bodyPr/>
        <a:lstStyle/>
        <a:p>
          <a:endParaRPr lang="fr-FR"/>
        </a:p>
      </dgm:t>
    </dgm:pt>
    <dgm:pt modelId="{493978A2-A031-46F0-9E0F-D93FFBB1EA94}" type="pres">
      <dgm:prSet presAssocID="{B042240F-0CF1-4BA0-ABEB-41237ED1439C}" presName="connectorText" presStyleLbl="sibTrans2D1" presStyleIdx="2" presStyleCnt="4"/>
      <dgm:spPr/>
      <dgm:t>
        <a:bodyPr/>
        <a:lstStyle/>
        <a:p>
          <a:endParaRPr lang="fr-FR"/>
        </a:p>
      </dgm:t>
    </dgm:pt>
    <dgm:pt modelId="{B84D75B0-4079-4572-A38A-F98DFDDEEAEC}" type="pres">
      <dgm:prSet presAssocID="{B3FA9471-BE7C-4F49-96A3-4E1D3EA101DE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A5B2F3F-E9C6-4FA8-A594-BD7E4420EF1A}" type="pres">
      <dgm:prSet presAssocID="{85C33AA6-E5B1-4544-9E22-B097A1CCF01B}" presName="sibTrans" presStyleLbl="sibTrans2D1" presStyleIdx="3" presStyleCnt="4"/>
      <dgm:spPr/>
      <dgm:t>
        <a:bodyPr/>
        <a:lstStyle/>
        <a:p>
          <a:endParaRPr lang="fr-FR"/>
        </a:p>
      </dgm:t>
    </dgm:pt>
    <dgm:pt modelId="{42883B61-6F4B-4A5F-9890-2803925E1E1F}" type="pres">
      <dgm:prSet presAssocID="{85C33AA6-E5B1-4544-9E22-B097A1CCF01B}" presName="connectorText" presStyleLbl="sibTrans2D1" presStyleIdx="3" presStyleCnt="4"/>
      <dgm:spPr/>
      <dgm:t>
        <a:bodyPr/>
        <a:lstStyle/>
        <a:p>
          <a:endParaRPr lang="fr-FR"/>
        </a:p>
      </dgm:t>
    </dgm:pt>
    <dgm:pt modelId="{DDA48195-F45A-4C4E-9C95-26D05C915721}" type="pres">
      <dgm:prSet presAssocID="{F7B724AF-32A2-4524-82B5-A0434C7F289E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E2B07D18-B061-49DC-8415-54C4F4E47701}" type="presOf" srcId="{E5B59E08-3A1C-4BE6-84C9-67B98D68A107}" destId="{AFC01FD3-D944-495E-A3DF-88E71951130E}" srcOrd="0" destOrd="0" presId="urn:microsoft.com/office/officeart/2005/8/layout/process1"/>
    <dgm:cxn modelId="{B8D56AEB-ACF5-4CE1-B6D5-10A4C8597E3D}" type="presOf" srcId="{216C63D7-DDB1-461C-AA91-98E102A24BB6}" destId="{B3C66833-81D7-4182-9653-4283CB2DE84D}" srcOrd="0" destOrd="0" presId="urn:microsoft.com/office/officeart/2005/8/layout/process1"/>
    <dgm:cxn modelId="{9B55DB0B-FE4E-4D5A-A471-B33A16499523}" type="presOf" srcId="{85C33AA6-E5B1-4544-9E22-B097A1CCF01B}" destId="{FA5B2F3F-E9C6-4FA8-A594-BD7E4420EF1A}" srcOrd="0" destOrd="0" presId="urn:microsoft.com/office/officeart/2005/8/layout/process1"/>
    <dgm:cxn modelId="{717FC4EB-F81D-4BD3-9F12-5B4E5AE00846}" type="presOf" srcId="{85C33AA6-E5B1-4544-9E22-B097A1CCF01B}" destId="{42883B61-6F4B-4A5F-9890-2803925E1E1F}" srcOrd="1" destOrd="0" presId="urn:microsoft.com/office/officeart/2005/8/layout/process1"/>
    <dgm:cxn modelId="{D8C58F1D-03A4-4C4F-AAF5-662DCB1C4415}" srcId="{E68A8A27-50BA-44EA-9883-E42E35A79A83}" destId="{216C63D7-DDB1-461C-AA91-98E102A24BB6}" srcOrd="0" destOrd="0" parTransId="{A94BAD67-15AA-4AD8-88BF-EBA19D0539A2}" sibTransId="{E80AA004-2745-4D28-82B0-77334B9713A5}"/>
    <dgm:cxn modelId="{2916CDB9-8DD5-4628-B6BD-3A391E32C900}" srcId="{E68A8A27-50BA-44EA-9883-E42E35A79A83}" destId="{E5B59E08-3A1C-4BE6-84C9-67B98D68A107}" srcOrd="1" destOrd="0" parTransId="{04B4B358-1EA9-4A39-BC03-E90B24038BB3}" sibTransId="{B705D30E-8257-409B-B247-BE6D3861CE60}"/>
    <dgm:cxn modelId="{C5641A76-2799-4789-A5B9-48F69172A48E}" type="presOf" srcId="{F7B724AF-32A2-4524-82B5-A0434C7F289E}" destId="{DDA48195-F45A-4C4E-9C95-26D05C915721}" srcOrd="0" destOrd="0" presId="urn:microsoft.com/office/officeart/2005/8/layout/process1"/>
    <dgm:cxn modelId="{36958039-A2BE-4CBC-8BFB-C463CDF66803}" type="presOf" srcId="{B9D3BC87-0DCF-4035-8986-10BB5254BCA9}" destId="{259496D8-0B7C-49E3-BD72-930958D83D21}" srcOrd="0" destOrd="0" presId="urn:microsoft.com/office/officeart/2005/8/layout/process1"/>
    <dgm:cxn modelId="{B202EEE0-B75E-440D-8012-FE399BB39476}" type="presOf" srcId="{B042240F-0CF1-4BA0-ABEB-41237ED1439C}" destId="{493978A2-A031-46F0-9E0F-D93FFBB1EA94}" srcOrd="1" destOrd="0" presId="urn:microsoft.com/office/officeart/2005/8/layout/process1"/>
    <dgm:cxn modelId="{05952C8F-A5CB-4AF1-A835-797D03A2CFCB}" type="presOf" srcId="{E68A8A27-50BA-44EA-9883-E42E35A79A83}" destId="{B4E5E714-493E-4AD4-B77A-A713DE4A18D5}" srcOrd="0" destOrd="0" presId="urn:microsoft.com/office/officeart/2005/8/layout/process1"/>
    <dgm:cxn modelId="{77B677AB-2D09-4CC9-A999-8CF7EC40C669}" type="presOf" srcId="{B3FA9471-BE7C-4F49-96A3-4E1D3EA101DE}" destId="{B84D75B0-4079-4572-A38A-F98DFDDEEAEC}" srcOrd="0" destOrd="0" presId="urn:microsoft.com/office/officeart/2005/8/layout/process1"/>
    <dgm:cxn modelId="{831F94D0-5B6D-45E7-8C50-C3A94AD1B698}" type="presOf" srcId="{B705D30E-8257-409B-B247-BE6D3861CE60}" destId="{02FEDEBA-8B99-4F1E-AC08-A1613B85AD5C}" srcOrd="0" destOrd="0" presId="urn:microsoft.com/office/officeart/2005/8/layout/process1"/>
    <dgm:cxn modelId="{3CA6B9A5-6779-4F90-A36C-4F3615FC6DC3}" type="presOf" srcId="{E80AA004-2745-4D28-82B0-77334B9713A5}" destId="{655111A4-FFA7-4DA2-A2AE-EB7D82487840}" srcOrd="0" destOrd="0" presId="urn:microsoft.com/office/officeart/2005/8/layout/process1"/>
    <dgm:cxn modelId="{1EABCAF1-4C0A-4FF1-A6F8-89369CB137BA}" type="presOf" srcId="{B705D30E-8257-409B-B247-BE6D3861CE60}" destId="{A10E2569-2D43-4F95-BB22-938E64131C7E}" srcOrd="1" destOrd="0" presId="urn:microsoft.com/office/officeart/2005/8/layout/process1"/>
    <dgm:cxn modelId="{AA9B4603-0ED8-44FC-A545-470424F73B56}" srcId="{E68A8A27-50BA-44EA-9883-E42E35A79A83}" destId="{F7B724AF-32A2-4524-82B5-A0434C7F289E}" srcOrd="4" destOrd="0" parTransId="{11E4CDBD-6DFC-417C-B919-6D4245BA4F8E}" sibTransId="{9A67EE5E-4945-4614-9E6A-DA6F52F43EF3}"/>
    <dgm:cxn modelId="{896E6013-AA45-4852-8027-F7777CFE55BD}" type="presOf" srcId="{B042240F-0CF1-4BA0-ABEB-41237ED1439C}" destId="{ACEA678F-6447-41D7-94C4-60FD4D4C7BAA}" srcOrd="0" destOrd="0" presId="urn:microsoft.com/office/officeart/2005/8/layout/process1"/>
    <dgm:cxn modelId="{81C7E654-6887-439C-93F8-FE37D0181525}" srcId="{E68A8A27-50BA-44EA-9883-E42E35A79A83}" destId="{B3FA9471-BE7C-4F49-96A3-4E1D3EA101DE}" srcOrd="3" destOrd="0" parTransId="{56B44266-8E59-46B8-B4E4-11689142C481}" sibTransId="{85C33AA6-E5B1-4544-9E22-B097A1CCF01B}"/>
    <dgm:cxn modelId="{1FA93FA1-8EBF-4581-B69D-4A0742F83842}" type="presOf" srcId="{E80AA004-2745-4D28-82B0-77334B9713A5}" destId="{12C6CA20-6B5C-4E0A-9EE0-425673F7499B}" srcOrd="1" destOrd="0" presId="urn:microsoft.com/office/officeart/2005/8/layout/process1"/>
    <dgm:cxn modelId="{69B84FD5-9653-42FD-AAF7-33C3AA449CDE}" srcId="{E68A8A27-50BA-44EA-9883-E42E35A79A83}" destId="{B9D3BC87-0DCF-4035-8986-10BB5254BCA9}" srcOrd="2" destOrd="0" parTransId="{C025953B-F813-46C4-8E00-EA650E3376F6}" sibTransId="{B042240F-0CF1-4BA0-ABEB-41237ED1439C}"/>
    <dgm:cxn modelId="{65AD7F76-1145-4A85-8C9F-8E24DDA7B7D0}" type="presParOf" srcId="{B4E5E714-493E-4AD4-B77A-A713DE4A18D5}" destId="{B3C66833-81D7-4182-9653-4283CB2DE84D}" srcOrd="0" destOrd="0" presId="urn:microsoft.com/office/officeart/2005/8/layout/process1"/>
    <dgm:cxn modelId="{F9848A52-5ED3-4B4C-8EA7-A87677CF4E50}" type="presParOf" srcId="{B4E5E714-493E-4AD4-B77A-A713DE4A18D5}" destId="{655111A4-FFA7-4DA2-A2AE-EB7D82487840}" srcOrd="1" destOrd="0" presId="urn:microsoft.com/office/officeart/2005/8/layout/process1"/>
    <dgm:cxn modelId="{5A3F410B-4521-4919-80FA-E7BDC5DDA797}" type="presParOf" srcId="{655111A4-FFA7-4DA2-A2AE-EB7D82487840}" destId="{12C6CA20-6B5C-4E0A-9EE0-425673F7499B}" srcOrd="0" destOrd="0" presId="urn:microsoft.com/office/officeart/2005/8/layout/process1"/>
    <dgm:cxn modelId="{ABC21DF3-038E-41C8-81D6-9B52C12FE868}" type="presParOf" srcId="{B4E5E714-493E-4AD4-B77A-A713DE4A18D5}" destId="{AFC01FD3-D944-495E-A3DF-88E71951130E}" srcOrd="2" destOrd="0" presId="urn:microsoft.com/office/officeart/2005/8/layout/process1"/>
    <dgm:cxn modelId="{2EC1DC00-1EE4-4D9B-B2B4-090263173569}" type="presParOf" srcId="{B4E5E714-493E-4AD4-B77A-A713DE4A18D5}" destId="{02FEDEBA-8B99-4F1E-AC08-A1613B85AD5C}" srcOrd="3" destOrd="0" presId="urn:microsoft.com/office/officeart/2005/8/layout/process1"/>
    <dgm:cxn modelId="{4791AA15-DE5F-447A-B5F2-6681E51F4E53}" type="presParOf" srcId="{02FEDEBA-8B99-4F1E-AC08-A1613B85AD5C}" destId="{A10E2569-2D43-4F95-BB22-938E64131C7E}" srcOrd="0" destOrd="0" presId="urn:microsoft.com/office/officeart/2005/8/layout/process1"/>
    <dgm:cxn modelId="{2D2A9B34-2193-4EB4-8C7C-874E5D0BBD72}" type="presParOf" srcId="{B4E5E714-493E-4AD4-B77A-A713DE4A18D5}" destId="{259496D8-0B7C-49E3-BD72-930958D83D21}" srcOrd="4" destOrd="0" presId="urn:microsoft.com/office/officeart/2005/8/layout/process1"/>
    <dgm:cxn modelId="{6C71CD29-BE5B-4CD0-938A-D2CBCFDB01AD}" type="presParOf" srcId="{B4E5E714-493E-4AD4-B77A-A713DE4A18D5}" destId="{ACEA678F-6447-41D7-94C4-60FD4D4C7BAA}" srcOrd="5" destOrd="0" presId="urn:microsoft.com/office/officeart/2005/8/layout/process1"/>
    <dgm:cxn modelId="{3E86F151-FADF-473C-8BAA-B1A57B5DE96A}" type="presParOf" srcId="{ACEA678F-6447-41D7-94C4-60FD4D4C7BAA}" destId="{493978A2-A031-46F0-9E0F-D93FFBB1EA94}" srcOrd="0" destOrd="0" presId="urn:microsoft.com/office/officeart/2005/8/layout/process1"/>
    <dgm:cxn modelId="{5FBD6515-20B9-4886-BBE9-5FDAADD3A7B6}" type="presParOf" srcId="{B4E5E714-493E-4AD4-B77A-A713DE4A18D5}" destId="{B84D75B0-4079-4572-A38A-F98DFDDEEAEC}" srcOrd="6" destOrd="0" presId="urn:microsoft.com/office/officeart/2005/8/layout/process1"/>
    <dgm:cxn modelId="{59162EA7-DE64-4C9E-B696-E365C7552C68}" type="presParOf" srcId="{B4E5E714-493E-4AD4-B77A-A713DE4A18D5}" destId="{FA5B2F3F-E9C6-4FA8-A594-BD7E4420EF1A}" srcOrd="7" destOrd="0" presId="urn:microsoft.com/office/officeart/2005/8/layout/process1"/>
    <dgm:cxn modelId="{4BB146BB-A8BA-41B3-9F9C-E7F478B340AA}" type="presParOf" srcId="{FA5B2F3F-E9C6-4FA8-A594-BD7E4420EF1A}" destId="{42883B61-6F4B-4A5F-9890-2803925E1E1F}" srcOrd="0" destOrd="0" presId="urn:microsoft.com/office/officeart/2005/8/layout/process1"/>
    <dgm:cxn modelId="{F4C9D7A8-C79E-4544-ABC2-16A5958327A2}" type="presParOf" srcId="{B4E5E714-493E-4AD4-B77A-A713DE4A18D5}" destId="{DDA48195-F45A-4C4E-9C95-26D05C915721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E626CF9-E8F5-4B25-A18C-C17F9D33B1B6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fr-FR"/>
        </a:p>
      </dgm:t>
    </dgm:pt>
    <dgm:pt modelId="{FF0CED43-F6C4-45CE-90FC-AC1B11AFEF26}">
      <dgm:prSet/>
      <dgm:spPr/>
      <dgm:t>
        <a:bodyPr/>
        <a:lstStyle/>
        <a:p>
          <a:pPr rtl="0"/>
          <a:r>
            <a:rPr lang="fr-FR" b="1" smtClean="0"/>
            <a:t>Contexte</a:t>
          </a:r>
          <a:endParaRPr lang="fr-FR"/>
        </a:p>
      </dgm:t>
    </dgm:pt>
    <dgm:pt modelId="{D43AFF01-CCD2-4D71-B7E0-EBEC04F37593}" type="parTrans" cxnId="{75AEAD91-0BC9-4253-8131-2AA97C207563}">
      <dgm:prSet/>
      <dgm:spPr/>
      <dgm:t>
        <a:bodyPr/>
        <a:lstStyle/>
        <a:p>
          <a:endParaRPr lang="fr-FR"/>
        </a:p>
      </dgm:t>
    </dgm:pt>
    <dgm:pt modelId="{C20CA812-E482-4E6A-A2DA-18B2C0E40FE1}" type="sibTrans" cxnId="{75AEAD91-0BC9-4253-8131-2AA97C207563}">
      <dgm:prSet/>
      <dgm:spPr/>
      <dgm:t>
        <a:bodyPr/>
        <a:lstStyle/>
        <a:p>
          <a:endParaRPr lang="fr-FR"/>
        </a:p>
      </dgm:t>
    </dgm:pt>
    <dgm:pt modelId="{73F3CBA4-FA06-42D0-A78C-1A320DEB48B3}" type="pres">
      <dgm:prSet presAssocID="{FE626CF9-E8F5-4B25-A18C-C17F9D33B1B6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D299A272-4021-4058-8B4D-7FC89A912450}" type="pres">
      <dgm:prSet presAssocID="{FF0CED43-F6C4-45CE-90FC-AC1B11AFEF26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75AEAD91-0BC9-4253-8131-2AA97C207563}" srcId="{FE626CF9-E8F5-4B25-A18C-C17F9D33B1B6}" destId="{FF0CED43-F6C4-45CE-90FC-AC1B11AFEF26}" srcOrd="0" destOrd="0" parTransId="{D43AFF01-CCD2-4D71-B7E0-EBEC04F37593}" sibTransId="{C20CA812-E482-4E6A-A2DA-18B2C0E40FE1}"/>
    <dgm:cxn modelId="{26AA5A2D-4706-4F50-80E8-78386B77ECCC}" type="presOf" srcId="{FF0CED43-F6C4-45CE-90FC-AC1B11AFEF26}" destId="{D299A272-4021-4058-8B4D-7FC89A912450}" srcOrd="0" destOrd="0" presId="urn:microsoft.com/office/officeart/2005/8/layout/vList2"/>
    <dgm:cxn modelId="{D6B1F83F-A3DA-43DC-88A8-6A7AF16364F7}" type="presOf" srcId="{FE626CF9-E8F5-4B25-A18C-C17F9D33B1B6}" destId="{73F3CBA4-FA06-42D0-A78C-1A320DEB48B3}" srcOrd="0" destOrd="0" presId="urn:microsoft.com/office/officeart/2005/8/layout/vList2"/>
    <dgm:cxn modelId="{6ED24F82-3EDB-460D-816E-7F5026172AA3}" type="presParOf" srcId="{73F3CBA4-FA06-42D0-A78C-1A320DEB48B3}" destId="{D299A272-4021-4058-8B4D-7FC89A91245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68A8A27-50BA-44EA-9883-E42E35A79A83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216C63D7-DDB1-461C-AA91-98E102A24BB6}">
      <dgm:prSet phldrT="[Texte]"/>
      <dgm:spPr/>
      <dgm:t>
        <a:bodyPr/>
        <a:lstStyle/>
        <a:p>
          <a:r>
            <a:rPr lang="fr-FR" dirty="0" smtClean="0"/>
            <a:t>Choix d’une formation qui présente le sujet de façon large afin de pouvoir l’ouvrir plus largement si besoin (collectivités locales)</a:t>
          </a:r>
          <a:endParaRPr lang="fr-FR" dirty="0"/>
        </a:p>
      </dgm:t>
    </dgm:pt>
    <dgm:pt modelId="{A94BAD67-15AA-4AD8-88BF-EBA19D0539A2}" type="parTrans" cxnId="{D8C58F1D-03A4-4C4F-AAF5-662DCB1C4415}">
      <dgm:prSet/>
      <dgm:spPr/>
      <dgm:t>
        <a:bodyPr/>
        <a:lstStyle/>
        <a:p>
          <a:endParaRPr lang="fr-FR"/>
        </a:p>
      </dgm:t>
    </dgm:pt>
    <dgm:pt modelId="{E80AA004-2745-4D28-82B0-77334B9713A5}" type="sibTrans" cxnId="{D8C58F1D-03A4-4C4F-AAF5-662DCB1C4415}">
      <dgm:prSet/>
      <dgm:spPr/>
      <dgm:t>
        <a:bodyPr/>
        <a:lstStyle/>
        <a:p>
          <a:endParaRPr lang="fr-FR"/>
        </a:p>
      </dgm:t>
    </dgm:pt>
    <dgm:pt modelId="{B3FA9471-BE7C-4F49-96A3-4E1D3EA101DE}">
      <dgm:prSet phldrT="[Texte]"/>
      <dgm:spPr/>
      <dgm:t>
        <a:bodyPr/>
        <a:lstStyle/>
        <a:p>
          <a:r>
            <a:rPr lang="fr-FR" dirty="0" smtClean="0"/>
            <a:t>Co-construction du scénario pédagogique MTE / DIE / CEREMA</a:t>
          </a:r>
          <a:endParaRPr lang="fr-FR" dirty="0"/>
        </a:p>
      </dgm:t>
    </dgm:pt>
    <dgm:pt modelId="{56B44266-8E59-46B8-B4E4-11689142C481}" type="parTrans" cxnId="{81C7E654-6887-439C-93F8-FE37D0181525}">
      <dgm:prSet/>
      <dgm:spPr/>
      <dgm:t>
        <a:bodyPr/>
        <a:lstStyle/>
        <a:p>
          <a:endParaRPr lang="fr-FR"/>
        </a:p>
      </dgm:t>
    </dgm:pt>
    <dgm:pt modelId="{85C33AA6-E5B1-4544-9E22-B097A1CCF01B}" type="sibTrans" cxnId="{81C7E654-6887-439C-93F8-FE37D0181525}">
      <dgm:prSet/>
      <dgm:spPr/>
      <dgm:t>
        <a:bodyPr/>
        <a:lstStyle/>
        <a:p>
          <a:endParaRPr lang="fr-FR"/>
        </a:p>
      </dgm:t>
    </dgm:pt>
    <dgm:pt modelId="{B9D3BC87-0DCF-4035-8986-10BB5254BCA9}">
      <dgm:prSet/>
      <dgm:spPr/>
      <dgm:t>
        <a:bodyPr/>
        <a:lstStyle/>
        <a:p>
          <a:r>
            <a:rPr lang="fr-FR" dirty="0" smtClean="0"/>
            <a:t>Synergie des offres de formation de la DIE et du MTE (proximité des sujets sur la transition énergétique) * </a:t>
          </a:r>
        </a:p>
      </dgm:t>
    </dgm:pt>
    <dgm:pt modelId="{C025953B-F813-46C4-8E00-EA650E3376F6}" type="parTrans" cxnId="{69B84FD5-9653-42FD-AAF7-33C3AA449CDE}">
      <dgm:prSet/>
      <dgm:spPr/>
      <dgm:t>
        <a:bodyPr/>
        <a:lstStyle/>
        <a:p>
          <a:endParaRPr lang="fr-FR"/>
        </a:p>
      </dgm:t>
    </dgm:pt>
    <dgm:pt modelId="{B042240F-0CF1-4BA0-ABEB-41237ED1439C}" type="sibTrans" cxnId="{69B84FD5-9653-42FD-AAF7-33C3AA449CDE}">
      <dgm:prSet/>
      <dgm:spPr/>
      <dgm:t>
        <a:bodyPr/>
        <a:lstStyle/>
        <a:p>
          <a:endParaRPr lang="fr-FR"/>
        </a:p>
      </dgm:t>
    </dgm:pt>
    <dgm:pt modelId="{E5B59E08-3A1C-4BE6-84C9-67B98D68A107}">
      <dgm:prSet/>
      <dgm:spPr/>
      <dgm:t>
        <a:bodyPr/>
        <a:lstStyle/>
        <a:p>
          <a:r>
            <a:rPr lang="fr-FR" dirty="0" smtClean="0"/>
            <a:t>Public cible : les gestionnaires d'actifs (</a:t>
          </a:r>
          <a:r>
            <a:rPr lang="fr-FR" dirty="0" err="1" smtClean="0"/>
            <a:t>asset</a:t>
          </a:r>
          <a:r>
            <a:rPr lang="fr-FR" dirty="0" smtClean="0"/>
            <a:t> managers) de parc immobilier public, dans une optique de prise de poste/mise à jour des connaissances/effet réseau</a:t>
          </a:r>
          <a:endParaRPr lang="fr-FR" dirty="0"/>
        </a:p>
      </dgm:t>
    </dgm:pt>
    <dgm:pt modelId="{04B4B358-1EA9-4A39-BC03-E90B24038BB3}" type="parTrans" cxnId="{2916CDB9-8DD5-4628-B6BD-3A391E32C900}">
      <dgm:prSet/>
      <dgm:spPr/>
      <dgm:t>
        <a:bodyPr/>
        <a:lstStyle/>
        <a:p>
          <a:endParaRPr lang="fr-FR"/>
        </a:p>
      </dgm:t>
    </dgm:pt>
    <dgm:pt modelId="{B705D30E-8257-409B-B247-BE6D3861CE60}" type="sibTrans" cxnId="{2916CDB9-8DD5-4628-B6BD-3A391E32C900}">
      <dgm:prSet/>
      <dgm:spPr/>
      <dgm:t>
        <a:bodyPr/>
        <a:lstStyle/>
        <a:p>
          <a:endParaRPr lang="fr-FR"/>
        </a:p>
      </dgm:t>
    </dgm:pt>
    <dgm:pt modelId="{D262D33C-10C0-482C-9080-05D5C45B4BF7}" type="pres">
      <dgm:prSet presAssocID="{E68A8A27-50BA-44EA-9883-E42E35A79A83}" presName="CompostProcess" presStyleCnt="0">
        <dgm:presLayoutVars>
          <dgm:dir/>
          <dgm:resizeHandles val="exact"/>
        </dgm:presLayoutVars>
      </dgm:prSet>
      <dgm:spPr/>
    </dgm:pt>
    <dgm:pt modelId="{8589D781-C7D4-44A0-BF10-5F8E9725FB7E}" type="pres">
      <dgm:prSet presAssocID="{E68A8A27-50BA-44EA-9883-E42E35A79A83}" presName="arrow" presStyleLbl="bgShp" presStyleIdx="0" presStyleCnt="1"/>
      <dgm:spPr/>
    </dgm:pt>
    <dgm:pt modelId="{FC13DB3A-6DEF-440D-B0EE-285B145A3540}" type="pres">
      <dgm:prSet presAssocID="{E68A8A27-50BA-44EA-9883-E42E35A79A83}" presName="linearProcess" presStyleCnt="0"/>
      <dgm:spPr/>
    </dgm:pt>
    <dgm:pt modelId="{BA5067A1-59CA-4C0D-B3C4-0B25075D9A4E}" type="pres">
      <dgm:prSet presAssocID="{216C63D7-DDB1-461C-AA91-98E102A24BB6}" presName="tex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E2891F7-CAE5-4596-B6C0-1387BC4EC126}" type="pres">
      <dgm:prSet presAssocID="{E80AA004-2745-4D28-82B0-77334B9713A5}" presName="sibTrans" presStyleCnt="0"/>
      <dgm:spPr/>
    </dgm:pt>
    <dgm:pt modelId="{3B0BB1C2-B72A-4BD5-A1B2-364FDC7AA39D}" type="pres">
      <dgm:prSet presAssocID="{E5B59E08-3A1C-4BE6-84C9-67B98D68A107}" presName="text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4E5A853-67F0-4DA6-8F43-1DFB36E7C353}" type="pres">
      <dgm:prSet presAssocID="{B705D30E-8257-409B-B247-BE6D3861CE60}" presName="sibTrans" presStyleCnt="0"/>
      <dgm:spPr/>
    </dgm:pt>
    <dgm:pt modelId="{1ACBBCC6-C0A4-41E2-81B2-74957FF4CAEE}" type="pres">
      <dgm:prSet presAssocID="{B9D3BC87-0DCF-4035-8986-10BB5254BCA9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AD00375-0E2F-4681-A4B9-08BCD662FEC6}" type="pres">
      <dgm:prSet presAssocID="{B042240F-0CF1-4BA0-ABEB-41237ED1439C}" presName="sibTrans" presStyleCnt="0"/>
      <dgm:spPr/>
    </dgm:pt>
    <dgm:pt modelId="{074323D2-6514-4034-A1AB-DE8EB68EBEC8}" type="pres">
      <dgm:prSet presAssocID="{B3FA9471-BE7C-4F49-96A3-4E1D3EA101DE}" presName="text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D8C58F1D-03A4-4C4F-AAF5-662DCB1C4415}" srcId="{E68A8A27-50BA-44EA-9883-E42E35A79A83}" destId="{216C63D7-DDB1-461C-AA91-98E102A24BB6}" srcOrd="0" destOrd="0" parTransId="{A94BAD67-15AA-4AD8-88BF-EBA19D0539A2}" sibTransId="{E80AA004-2745-4D28-82B0-77334B9713A5}"/>
    <dgm:cxn modelId="{2916CDB9-8DD5-4628-B6BD-3A391E32C900}" srcId="{E68A8A27-50BA-44EA-9883-E42E35A79A83}" destId="{E5B59E08-3A1C-4BE6-84C9-67B98D68A107}" srcOrd="1" destOrd="0" parTransId="{04B4B358-1EA9-4A39-BC03-E90B24038BB3}" sibTransId="{B705D30E-8257-409B-B247-BE6D3861CE60}"/>
    <dgm:cxn modelId="{C66BCB87-E82D-422B-8B21-E74DA32DCBA7}" type="presOf" srcId="{B3FA9471-BE7C-4F49-96A3-4E1D3EA101DE}" destId="{074323D2-6514-4034-A1AB-DE8EB68EBEC8}" srcOrd="0" destOrd="0" presId="urn:microsoft.com/office/officeart/2005/8/layout/hProcess9"/>
    <dgm:cxn modelId="{670C6671-8726-4E6B-ABED-05F1AB20A799}" type="presOf" srcId="{E5B59E08-3A1C-4BE6-84C9-67B98D68A107}" destId="{3B0BB1C2-B72A-4BD5-A1B2-364FDC7AA39D}" srcOrd="0" destOrd="0" presId="urn:microsoft.com/office/officeart/2005/8/layout/hProcess9"/>
    <dgm:cxn modelId="{69B84FD5-9653-42FD-AAF7-33C3AA449CDE}" srcId="{E68A8A27-50BA-44EA-9883-E42E35A79A83}" destId="{B9D3BC87-0DCF-4035-8986-10BB5254BCA9}" srcOrd="2" destOrd="0" parTransId="{C025953B-F813-46C4-8E00-EA650E3376F6}" sibTransId="{B042240F-0CF1-4BA0-ABEB-41237ED1439C}"/>
    <dgm:cxn modelId="{F3FF3A7E-6672-430F-B990-F155FFD4B476}" type="presOf" srcId="{B9D3BC87-0DCF-4035-8986-10BB5254BCA9}" destId="{1ACBBCC6-C0A4-41E2-81B2-74957FF4CAEE}" srcOrd="0" destOrd="0" presId="urn:microsoft.com/office/officeart/2005/8/layout/hProcess9"/>
    <dgm:cxn modelId="{81C7E654-6887-439C-93F8-FE37D0181525}" srcId="{E68A8A27-50BA-44EA-9883-E42E35A79A83}" destId="{B3FA9471-BE7C-4F49-96A3-4E1D3EA101DE}" srcOrd="3" destOrd="0" parTransId="{56B44266-8E59-46B8-B4E4-11689142C481}" sibTransId="{85C33AA6-E5B1-4544-9E22-B097A1CCF01B}"/>
    <dgm:cxn modelId="{0A256359-E314-4FD0-AD4D-30E98E6C9803}" type="presOf" srcId="{216C63D7-DDB1-461C-AA91-98E102A24BB6}" destId="{BA5067A1-59CA-4C0D-B3C4-0B25075D9A4E}" srcOrd="0" destOrd="0" presId="urn:microsoft.com/office/officeart/2005/8/layout/hProcess9"/>
    <dgm:cxn modelId="{B5BE4F39-AEA3-43B4-A43B-58FFA04CAC19}" type="presOf" srcId="{E68A8A27-50BA-44EA-9883-E42E35A79A83}" destId="{D262D33C-10C0-482C-9080-05D5C45B4BF7}" srcOrd="0" destOrd="0" presId="urn:microsoft.com/office/officeart/2005/8/layout/hProcess9"/>
    <dgm:cxn modelId="{C9492A7F-C94F-467F-9AC2-F246A9AE7893}" type="presParOf" srcId="{D262D33C-10C0-482C-9080-05D5C45B4BF7}" destId="{8589D781-C7D4-44A0-BF10-5F8E9725FB7E}" srcOrd="0" destOrd="0" presId="urn:microsoft.com/office/officeart/2005/8/layout/hProcess9"/>
    <dgm:cxn modelId="{5EBDE537-EC93-4725-89F2-893F3C862EBD}" type="presParOf" srcId="{D262D33C-10C0-482C-9080-05D5C45B4BF7}" destId="{FC13DB3A-6DEF-440D-B0EE-285B145A3540}" srcOrd="1" destOrd="0" presId="urn:microsoft.com/office/officeart/2005/8/layout/hProcess9"/>
    <dgm:cxn modelId="{EC7FF86F-B742-4B6E-9815-794B9E68F48E}" type="presParOf" srcId="{FC13DB3A-6DEF-440D-B0EE-285B145A3540}" destId="{BA5067A1-59CA-4C0D-B3C4-0B25075D9A4E}" srcOrd="0" destOrd="0" presId="urn:microsoft.com/office/officeart/2005/8/layout/hProcess9"/>
    <dgm:cxn modelId="{466941D6-C458-4B53-B545-103E94A92DA1}" type="presParOf" srcId="{FC13DB3A-6DEF-440D-B0EE-285B145A3540}" destId="{8E2891F7-CAE5-4596-B6C0-1387BC4EC126}" srcOrd="1" destOrd="0" presId="urn:microsoft.com/office/officeart/2005/8/layout/hProcess9"/>
    <dgm:cxn modelId="{AE8E829E-EADA-4590-BBF8-0E8C5E052D7A}" type="presParOf" srcId="{FC13DB3A-6DEF-440D-B0EE-285B145A3540}" destId="{3B0BB1C2-B72A-4BD5-A1B2-364FDC7AA39D}" srcOrd="2" destOrd="0" presId="urn:microsoft.com/office/officeart/2005/8/layout/hProcess9"/>
    <dgm:cxn modelId="{570019DB-A6D0-4A8D-A0E5-499D8192EB94}" type="presParOf" srcId="{FC13DB3A-6DEF-440D-B0EE-285B145A3540}" destId="{34E5A853-67F0-4DA6-8F43-1DFB36E7C353}" srcOrd="3" destOrd="0" presId="urn:microsoft.com/office/officeart/2005/8/layout/hProcess9"/>
    <dgm:cxn modelId="{B125E80F-5A11-4DA0-AF68-382C5ED08C19}" type="presParOf" srcId="{FC13DB3A-6DEF-440D-B0EE-285B145A3540}" destId="{1ACBBCC6-C0A4-41E2-81B2-74957FF4CAEE}" srcOrd="4" destOrd="0" presId="urn:microsoft.com/office/officeart/2005/8/layout/hProcess9"/>
    <dgm:cxn modelId="{AB6A134D-1885-4376-A91E-91CC2CBACDFF}" type="presParOf" srcId="{FC13DB3A-6DEF-440D-B0EE-285B145A3540}" destId="{7AD00375-0E2F-4681-A4B9-08BCD662FEC6}" srcOrd="5" destOrd="0" presId="urn:microsoft.com/office/officeart/2005/8/layout/hProcess9"/>
    <dgm:cxn modelId="{E7B58DB4-D00A-419B-8F21-3D5F8AD4D9AC}" type="presParOf" srcId="{FC13DB3A-6DEF-440D-B0EE-285B145A3540}" destId="{074323D2-6514-4034-A1AB-DE8EB68EBEC8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E626CF9-E8F5-4B25-A18C-C17F9D33B1B6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FF0CED43-F6C4-45CE-90FC-AC1B11AFEF26}">
      <dgm:prSet/>
      <dgm:spPr/>
      <dgm:t>
        <a:bodyPr/>
        <a:lstStyle/>
        <a:p>
          <a:pPr rtl="0"/>
          <a:r>
            <a:rPr lang="fr-FR" b="1" dirty="0" smtClean="0"/>
            <a:t>L’offre de formation</a:t>
          </a:r>
          <a:endParaRPr lang="fr-FR" dirty="0"/>
        </a:p>
      </dgm:t>
    </dgm:pt>
    <dgm:pt modelId="{D43AFF01-CCD2-4D71-B7E0-EBEC04F37593}" type="parTrans" cxnId="{75AEAD91-0BC9-4253-8131-2AA97C207563}">
      <dgm:prSet/>
      <dgm:spPr/>
      <dgm:t>
        <a:bodyPr/>
        <a:lstStyle/>
        <a:p>
          <a:endParaRPr lang="fr-FR"/>
        </a:p>
      </dgm:t>
    </dgm:pt>
    <dgm:pt modelId="{C20CA812-E482-4E6A-A2DA-18B2C0E40FE1}" type="sibTrans" cxnId="{75AEAD91-0BC9-4253-8131-2AA97C207563}">
      <dgm:prSet/>
      <dgm:spPr/>
      <dgm:t>
        <a:bodyPr/>
        <a:lstStyle/>
        <a:p>
          <a:endParaRPr lang="fr-FR"/>
        </a:p>
      </dgm:t>
    </dgm:pt>
    <dgm:pt modelId="{73F3CBA4-FA06-42D0-A78C-1A320DEB48B3}" type="pres">
      <dgm:prSet presAssocID="{FE626CF9-E8F5-4B25-A18C-C17F9D33B1B6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D299A272-4021-4058-8B4D-7FC89A912450}" type="pres">
      <dgm:prSet presAssocID="{FF0CED43-F6C4-45CE-90FC-AC1B11AFEF26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75AEAD91-0BC9-4253-8131-2AA97C207563}" srcId="{FE626CF9-E8F5-4B25-A18C-C17F9D33B1B6}" destId="{FF0CED43-F6C4-45CE-90FC-AC1B11AFEF26}" srcOrd="0" destOrd="0" parTransId="{D43AFF01-CCD2-4D71-B7E0-EBEC04F37593}" sibTransId="{C20CA812-E482-4E6A-A2DA-18B2C0E40FE1}"/>
    <dgm:cxn modelId="{26AA5A2D-4706-4F50-80E8-78386B77ECCC}" type="presOf" srcId="{FF0CED43-F6C4-45CE-90FC-AC1B11AFEF26}" destId="{D299A272-4021-4058-8B4D-7FC89A912450}" srcOrd="0" destOrd="0" presId="urn:microsoft.com/office/officeart/2005/8/layout/vList2"/>
    <dgm:cxn modelId="{D6B1F83F-A3DA-43DC-88A8-6A7AF16364F7}" type="presOf" srcId="{FE626CF9-E8F5-4B25-A18C-C17F9D33B1B6}" destId="{73F3CBA4-FA06-42D0-A78C-1A320DEB48B3}" srcOrd="0" destOrd="0" presId="urn:microsoft.com/office/officeart/2005/8/layout/vList2"/>
    <dgm:cxn modelId="{6ED24F82-3EDB-460D-816E-7F5026172AA3}" type="presParOf" srcId="{73F3CBA4-FA06-42D0-A78C-1A320DEB48B3}" destId="{D299A272-4021-4058-8B4D-7FC89A91245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EA6F819-2F49-4512-9709-4BCECEC1B0F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1CF6C37-D4BB-418F-9DC6-F0EB1346D3CB}">
      <dgm:prSet/>
      <dgm:spPr/>
      <dgm:t>
        <a:bodyPr/>
        <a:lstStyle/>
        <a:p>
          <a:pPr rtl="0"/>
          <a:r>
            <a:rPr lang="fr-FR" b="1" dirty="0" smtClean="0"/>
            <a:t>Dispositif pédagogique en 3 modules – formation Hybride </a:t>
          </a:r>
          <a:br>
            <a:rPr lang="fr-FR" b="1" dirty="0" smtClean="0"/>
          </a:br>
          <a:r>
            <a:rPr lang="fr-FR" b="1" dirty="0" smtClean="0"/>
            <a:t>(logique d’entonnoir)</a:t>
          </a:r>
          <a:endParaRPr lang="fr-FR" dirty="0"/>
        </a:p>
      </dgm:t>
    </dgm:pt>
    <dgm:pt modelId="{474EBC73-D893-4ADF-B268-53D075D2A3BD}" type="parTrans" cxnId="{F9042177-7958-48DF-B4B1-F2BB41809EAB}">
      <dgm:prSet/>
      <dgm:spPr/>
      <dgm:t>
        <a:bodyPr/>
        <a:lstStyle/>
        <a:p>
          <a:endParaRPr lang="fr-FR"/>
        </a:p>
      </dgm:t>
    </dgm:pt>
    <dgm:pt modelId="{233975BA-EC99-4288-80D0-89B724DA68A0}" type="sibTrans" cxnId="{F9042177-7958-48DF-B4B1-F2BB41809EAB}">
      <dgm:prSet/>
      <dgm:spPr/>
      <dgm:t>
        <a:bodyPr/>
        <a:lstStyle/>
        <a:p>
          <a:endParaRPr lang="fr-FR"/>
        </a:p>
      </dgm:t>
    </dgm:pt>
    <dgm:pt modelId="{38E1FEFD-B77B-4BB5-A28C-D3669E7D189E}" type="pres">
      <dgm:prSet presAssocID="{1EA6F819-2F49-4512-9709-4BCECEC1B0F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424CD42D-03A0-43A5-B11D-1F9DBFC0E21D}" type="pres">
      <dgm:prSet presAssocID="{91CF6C37-D4BB-418F-9DC6-F0EB1346D3CB}" presName="parentText" presStyleLbl="node1" presStyleIdx="0" presStyleCnt="1" custLinFactNeighborX="260" custLinFactNeighborY="27440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645A3F95-346C-48C9-A1EB-D1C1D8FFE05B}" type="presOf" srcId="{1EA6F819-2F49-4512-9709-4BCECEC1B0F8}" destId="{38E1FEFD-B77B-4BB5-A28C-D3669E7D189E}" srcOrd="0" destOrd="0" presId="urn:microsoft.com/office/officeart/2005/8/layout/vList2"/>
    <dgm:cxn modelId="{F9042177-7958-48DF-B4B1-F2BB41809EAB}" srcId="{1EA6F819-2F49-4512-9709-4BCECEC1B0F8}" destId="{91CF6C37-D4BB-418F-9DC6-F0EB1346D3CB}" srcOrd="0" destOrd="0" parTransId="{474EBC73-D893-4ADF-B268-53D075D2A3BD}" sibTransId="{233975BA-EC99-4288-80D0-89B724DA68A0}"/>
    <dgm:cxn modelId="{92986E2F-8EB2-4D25-A1B3-CF82C8872CC9}" type="presOf" srcId="{91CF6C37-D4BB-418F-9DC6-F0EB1346D3CB}" destId="{424CD42D-03A0-43A5-B11D-1F9DBFC0E21D}" srcOrd="0" destOrd="0" presId="urn:microsoft.com/office/officeart/2005/8/layout/vList2"/>
    <dgm:cxn modelId="{7B0D7668-D518-41D8-AF00-4CC29BF4F4B7}" type="presParOf" srcId="{38E1FEFD-B77B-4BB5-A28C-D3669E7D189E}" destId="{424CD42D-03A0-43A5-B11D-1F9DBFC0E21D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FE80816-2C78-4F5C-86EE-AE422F4D19C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EFC4F6FC-0516-4A3A-A113-E590AE4AB6E9}">
      <dgm:prSet/>
      <dgm:spPr/>
      <dgm:t>
        <a:bodyPr/>
        <a:lstStyle/>
        <a:p>
          <a:pPr rtl="0"/>
          <a:r>
            <a:rPr lang="fr-FR" b="1" dirty="0" smtClean="0"/>
            <a:t>Volet technique et pédagogique</a:t>
          </a:r>
          <a:endParaRPr lang="fr-FR" dirty="0"/>
        </a:p>
      </dgm:t>
    </dgm:pt>
    <dgm:pt modelId="{08D3029A-5718-45C0-BD88-06F321D1BE48}" type="parTrans" cxnId="{7E1B2AAD-9B32-44DE-910C-EC6F219749D8}">
      <dgm:prSet/>
      <dgm:spPr/>
      <dgm:t>
        <a:bodyPr/>
        <a:lstStyle/>
        <a:p>
          <a:endParaRPr lang="fr-FR"/>
        </a:p>
      </dgm:t>
    </dgm:pt>
    <dgm:pt modelId="{2C1206CB-BD3D-4000-9D7E-BEA6B760FCDB}" type="sibTrans" cxnId="{7E1B2AAD-9B32-44DE-910C-EC6F219749D8}">
      <dgm:prSet/>
      <dgm:spPr/>
      <dgm:t>
        <a:bodyPr/>
        <a:lstStyle/>
        <a:p>
          <a:endParaRPr lang="fr-FR"/>
        </a:p>
      </dgm:t>
    </dgm:pt>
    <dgm:pt modelId="{A43F40AE-2679-4D53-B5ED-0A4508F171F3}" type="pres">
      <dgm:prSet presAssocID="{2FE80816-2C78-4F5C-86EE-AE422F4D19C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D4E916F6-8EFD-4775-9B71-4B5E85FF3FC4}" type="pres">
      <dgm:prSet presAssocID="{EFC4F6FC-0516-4A3A-A113-E590AE4AB6E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7CA863B5-964B-4207-8F29-1388982B5390}" type="presOf" srcId="{2FE80816-2C78-4F5C-86EE-AE422F4D19CE}" destId="{A43F40AE-2679-4D53-B5ED-0A4508F171F3}" srcOrd="0" destOrd="0" presId="urn:microsoft.com/office/officeart/2005/8/layout/vList2"/>
    <dgm:cxn modelId="{7E1B2AAD-9B32-44DE-910C-EC6F219749D8}" srcId="{2FE80816-2C78-4F5C-86EE-AE422F4D19CE}" destId="{EFC4F6FC-0516-4A3A-A113-E590AE4AB6E9}" srcOrd="0" destOrd="0" parTransId="{08D3029A-5718-45C0-BD88-06F321D1BE48}" sibTransId="{2C1206CB-BD3D-4000-9D7E-BEA6B760FCDB}"/>
    <dgm:cxn modelId="{6D0B04AE-E1D4-4354-98A8-0D718CE17568}" type="presOf" srcId="{EFC4F6FC-0516-4A3A-A113-E590AE4AB6E9}" destId="{D4E916F6-8EFD-4775-9B71-4B5E85FF3FC4}" srcOrd="0" destOrd="0" presId="urn:microsoft.com/office/officeart/2005/8/layout/vList2"/>
    <dgm:cxn modelId="{5B154307-967B-43BB-9369-9DF5F1E7B8F8}" type="presParOf" srcId="{A43F40AE-2679-4D53-B5ED-0A4508F171F3}" destId="{D4E916F6-8EFD-4775-9B71-4B5E85FF3FC4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3332B07F-E8D4-42AF-A496-D740F901764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fr-FR"/>
        </a:p>
      </dgm:t>
    </dgm:pt>
    <dgm:pt modelId="{2D576A9A-CCF5-4122-9E3F-4D8354FC6E26}">
      <dgm:prSet/>
      <dgm:spPr/>
      <dgm:t>
        <a:bodyPr/>
        <a:lstStyle/>
        <a:p>
          <a:pPr rtl="0"/>
          <a:r>
            <a:rPr lang="fr-FR" b="1" smtClean="0"/>
            <a:t>Démonstration</a:t>
          </a:r>
          <a:endParaRPr lang="fr-FR"/>
        </a:p>
      </dgm:t>
    </dgm:pt>
    <dgm:pt modelId="{11180E85-E722-4454-BED4-868748C792AA}" type="parTrans" cxnId="{0878CBBA-8BCB-4834-8C70-83EDBAB5687A}">
      <dgm:prSet/>
      <dgm:spPr/>
      <dgm:t>
        <a:bodyPr/>
        <a:lstStyle/>
        <a:p>
          <a:endParaRPr lang="fr-FR"/>
        </a:p>
      </dgm:t>
    </dgm:pt>
    <dgm:pt modelId="{EEBFA72A-58B1-40BD-96E8-06B8805FD325}" type="sibTrans" cxnId="{0878CBBA-8BCB-4834-8C70-83EDBAB5687A}">
      <dgm:prSet/>
      <dgm:spPr/>
      <dgm:t>
        <a:bodyPr/>
        <a:lstStyle/>
        <a:p>
          <a:endParaRPr lang="fr-FR"/>
        </a:p>
      </dgm:t>
    </dgm:pt>
    <dgm:pt modelId="{43D0CB32-8AF6-4E86-923F-80CEC12F84DD}" type="pres">
      <dgm:prSet presAssocID="{3332B07F-E8D4-42AF-A496-D740F901764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B5F04700-F079-4270-A114-409EBCF97FF2}" type="pres">
      <dgm:prSet presAssocID="{2D576A9A-CCF5-4122-9E3F-4D8354FC6E26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0878CBBA-8BCB-4834-8C70-83EDBAB5687A}" srcId="{3332B07F-E8D4-42AF-A496-D740F901764F}" destId="{2D576A9A-CCF5-4122-9E3F-4D8354FC6E26}" srcOrd="0" destOrd="0" parTransId="{11180E85-E722-4454-BED4-868748C792AA}" sibTransId="{EEBFA72A-58B1-40BD-96E8-06B8805FD325}"/>
    <dgm:cxn modelId="{6F8B06D9-1F0D-4B47-AF3F-BAF0A376473C}" type="presOf" srcId="{3332B07F-E8D4-42AF-A496-D740F901764F}" destId="{43D0CB32-8AF6-4E86-923F-80CEC12F84DD}" srcOrd="0" destOrd="0" presId="urn:microsoft.com/office/officeart/2005/8/layout/vList2"/>
    <dgm:cxn modelId="{826B714D-A5E8-4C03-897B-2535A66962F4}" type="presOf" srcId="{2D576A9A-CCF5-4122-9E3F-4D8354FC6E26}" destId="{B5F04700-F079-4270-A114-409EBCF97FF2}" srcOrd="0" destOrd="0" presId="urn:microsoft.com/office/officeart/2005/8/layout/vList2"/>
    <dgm:cxn modelId="{AA4F5EA2-5833-4D93-9B1E-2B70DA167C9F}" type="presParOf" srcId="{43D0CB32-8AF6-4E86-923F-80CEC12F84DD}" destId="{B5F04700-F079-4270-A114-409EBCF97FF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B2D32545-82B4-44B7-89FE-CD6A199955C2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2CA7349-6877-4FA4-B367-59150B9F9256}">
      <dgm:prSet/>
      <dgm:spPr/>
      <dgm:t>
        <a:bodyPr/>
        <a:lstStyle/>
        <a:p>
          <a:pPr rtl="0"/>
          <a:r>
            <a:rPr lang="fr-FR" b="1" dirty="0" smtClean="0"/>
            <a:t>Calendrier du projet</a:t>
          </a:r>
          <a:endParaRPr lang="fr-FR" dirty="0"/>
        </a:p>
      </dgm:t>
    </dgm:pt>
    <dgm:pt modelId="{E2801F33-5163-4BAB-96BF-4F7128A3206B}" type="parTrans" cxnId="{1EB25E1C-A191-45F1-BB60-21EBA1C4EEB8}">
      <dgm:prSet/>
      <dgm:spPr/>
      <dgm:t>
        <a:bodyPr/>
        <a:lstStyle/>
        <a:p>
          <a:endParaRPr lang="fr-FR"/>
        </a:p>
      </dgm:t>
    </dgm:pt>
    <dgm:pt modelId="{F36F9A3F-D3F8-48AB-BB77-E7DB768D59AF}" type="sibTrans" cxnId="{1EB25E1C-A191-45F1-BB60-21EBA1C4EEB8}">
      <dgm:prSet/>
      <dgm:spPr/>
      <dgm:t>
        <a:bodyPr/>
        <a:lstStyle/>
        <a:p>
          <a:endParaRPr lang="fr-FR"/>
        </a:p>
      </dgm:t>
    </dgm:pt>
    <dgm:pt modelId="{0A488BAE-6C12-40EB-8253-4CA06B39BCDF}" type="pres">
      <dgm:prSet presAssocID="{B2D32545-82B4-44B7-89FE-CD6A199955C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62DF8B7C-77C3-4BE0-8E46-D8C74A5765AE}" type="pres">
      <dgm:prSet presAssocID="{92CA7349-6877-4FA4-B367-59150B9F9256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165EEFF2-0E91-484B-A181-5FB05E35CE7B}" type="presOf" srcId="{B2D32545-82B4-44B7-89FE-CD6A199955C2}" destId="{0A488BAE-6C12-40EB-8253-4CA06B39BCDF}" srcOrd="0" destOrd="0" presId="urn:microsoft.com/office/officeart/2005/8/layout/vList2"/>
    <dgm:cxn modelId="{77DDDA6D-57ED-4380-927C-0C2DC170A1A4}" type="presOf" srcId="{92CA7349-6877-4FA4-B367-59150B9F9256}" destId="{62DF8B7C-77C3-4BE0-8E46-D8C74A5765AE}" srcOrd="0" destOrd="0" presId="urn:microsoft.com/office/officeart/2005/8/layout/vList2"/>
    <dgm:cxn modelId="{1EB25E1C-A191-45F1-BB60-21EBA1C4EEB8}" srcId="{B2D32545-82B4-44B7-89FE-CD6A199955C2}" destId="{92CA7349-6877-4FA4-B367-59150B9F9256}" srcOrd="0" destOrd="0" parTransId="{E2801F33-5163-4BAB-96BF-4F7128A3206B}" sibTransId="{F36F9A3F-D3F8-48AB-BB77-E7DB768D59AF}"/>
    <dgm:cxn modelId="{F21C6E41-BBF4-414E-98A3-5DA600A99DBD}" type="presParOf" srcId="{0A488BAE-6C12-40EB-8253-4CA06B39BCDF}" destId="{62DF8B7C-77C3-4BE0-8E46-D8C74A5765A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99A272-4021-4058-8B4D-7FC89A912450}">
      <dsp:nvSpPr>
        <dsp:cNvPr id="0" name=""/>
        <dsp:cNvSpPr/>
      </dsp:nvSpPr>
      <dsp:spPr>
        <a:xfrm>
          <a:off x="0" y="4612"/>
          <a:ext cx="8424000" cy="7107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700" kern="1200" dirty="0" smtClean="0"/>
            <a:t>Les acteurs </a:t>
          </a:r>
          <a:endParaRPr lang="fr-FR" sz="2700" kern="1200" dirty="0"/>
        </a:p>
      </dsp:txBody>
      <dsp:txXfrm>
        <a:off x="34697" y="39309"/>
        <a:ext cx="8354606" cy="64138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C66833-81D7-4182-9653-4283CB2DE84D}">
      <dsp:nvSpPr>
        <dsp:cNvPr id="0" name=""/>
        <dsp:cNvSpPr/>
      </dsp:nvSpPr>
      <dsp:spPr>
        <a:xfrm>
          <a:off x="4113" y="1129032"/>
          <a:ext cx="1275062" cy="19854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MTE / DGALN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600" kern="1200" dirty="0" smtClean="0"/>
            <a:t>Direction de l’Habitat, de l’Urbanisme et des Paysages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600" kern="1200" dirty="0" smtClean="0"/>
            <a:t>Sous-direction de la qualité et du développement durable dans la construction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QC4 – Bureau de la réhabilitation du parc, des évaluations économiques et de l’outre-mer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---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Simon MARC</a:t>
          </a:r>
          <a:endParaRPr lang="fr-FR" sz="800" kern="1200" dirty="0"/>
        </a:p>
      </dsp:txBody>
      <dsp:txXfrm>
        <a:off x="41458" y="1166377"/>
        <a:ext cx="1200372" cy="1910744"/>
      </dsp:txXfrm>
    </dsp:sp>
    <dsp:sp modelId="{655111A4-FFA7-4DA2-A2AE-EB7D82487840}">
      <dsp:nvSpPr>
        <dsp:cNvPr id="0" name=""/>
        <dsp:cNvSpPr/>
      </dsp:nvSpPr>
      <dsp:spPr>
        <a:xfrm>
          <a:off x="1406681" y="1963642"/>
          <a:ext cx="270313" cy="31621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100" kern="1200"/>
        </a:p>
      </dsp:txBody>
      <dsp:txXfrm>
        <a:off x="1406681" y="2026885"/>
        <a:ext cx="189219" cy="189729"/>
      </dsp:txXfrm>
    </dsp:sp>
    <dsp:sp modelId="{AFC01FD3-D944-495E-A3DF-88E71951130E}">
      <dsp:nvSpPr>
        <dsp:cNvPr id="0" name=""/>
        <dsp:cNvSpPr/>
      </dsp:nvSpPr>
      <dsp:spPr>
        <a:xfrm>
          <a:off x="1789200" y="1129032"/>
          <a:ext cx="1275062" cy="19854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Ministère de l’Économie, des Finances et de la souveraineté industrielle et numérique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Direction de l’Immobilier de l’État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---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Laurence MAURETTE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Marion BESSIERE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Romain GORGES</a:t>
          </a:r>
          <a:endParaRPr lang="fr-FR" sz="800" kern="1200" dirty="0"/>
        </a:p>
      </dsp:txBody>
      <dsp:txXfrm>
        <a:off x="1826545" y="1166377"/>
        <a:ext cx="1200372" cy="1910744"/>
      </dsp:txXfrm>
    </dsp:sp>
    <dsp:sp modelId="{02FEDEBA-8B99-4F1E-AC08-A1613B85AD5C}">
      <dsp:nvSpPr>
        <dsp:cNvPr id="0" name=""/>
        <dsp:cNvSpPr/>
      </dsp:nvSpPr>
      <dsp:spPr>
        <a:xfrm>
          <a:off x="3191769" y="1963642"/>
          <a:ext cx="270313" cy="31621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100" kern="1200"/>
        </a:p>
      </dsp:txBody>
      <dsp:txXfrm>
        <a:off x="3191769" y="2026885"/>
        <a:ext cx="189219" cy="189729"/>
      </dsp:txXfrm>
    </dsp:sp>
    <dsp:sp modelId="{259496D8-0B7C-49E3-BD72-930958D83D21}">
      <dsp:nvSpPr>
        <dsp:cNvPr id="0" name=""/>
        <dsp:cNvSpPr/>
      </dsp:nvSpPr>
      <dsp:spPr>
        <a:xfrm>
          <a:off x="3574288" y="1129032"/>
          <a:ext cx="1275062" cy="19854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MTE / SG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Direction des Ressources Humaines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…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Centre Ministérielle de Valorisation des ressources Humaines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---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i="0" kern="1200" dirty="0" smtClean="0"/>
            <a:t>Xavier WAECHTER 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600" i="1" kern="1200" dirty="0" smtClean="0"/>
            <a:t>CVRH de Toulouse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i="0" kern="1200" dirty="0" smtClean="0"/>
            <a:t>Frédéric WAYMEL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600" i="1" kern="1200" dirty="0" smtClean="0"/>
            <a:t>CMA</a:t>
          </a:r>
        </a:p>
      </dsp:txBody>
      <dsp:txXfrm>
        <a:off x="3611633" y="1166377"/>
        <a:ext cx="1200372" cy="1910744"/>
      </dsp:txXfrm>
    </dsp:sp>
    <dsp:sp modelId="{ACEA678F-6447-41D7-94C4-60FD4D4C7BAA}">
      <dsp:nvSpPr>
        <dsp:cNvPr id="0" name=""/>
        <dsp:cNvSpPr/>
      </dsp:nvSpPr>
      <dsp:spPr>
        <a:xfrm>
          <a:off x="4976857" y="1963642"/>
          <a:ext cx="270313" cy="31621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100" kern="1200"/>
        </a:p>
      </dsp:txBody>
      <dsp:txXfrm>
        <a:off x="4976857" y="2026885"/>
        <a:ext cx="189219" cy="189729"/>
      </dsp:txXfrm>
    </dsp:sp>
    <dsp:sp modelId="{B84D75B0-4079-4572-A38A-F98DFDDEEAEC}">
      <dsp:nvSpPr>
        <dsp:cNvPr id="0" name=""/>
        <dsp:cNvSpPr/>
      </dsp:nvSpPr>
      <dsp:spPr>
        <a:xfrm>
          <a:off x="5359375" y="1129032"/>
          <a:ext cx="1275062" cy="19854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CEREMA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600" kern="1200" dirty="0" smtClean="0"/>
            <a:t>Centre d’études et d’expertise sur les risques, l’environnement, la mobilité et l’environnement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600" kern="1200" dirty="0" smtClean="0"/>
            <a:t>Direction technique Territoires &amp; ville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Département bâtiment durable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---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Cédric LENTILLON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Rémy PUGEAT</a:t>
          </a:r>
          <a:endParaRPr lang="fr-FR" sz="800" kern="1200" dirty="0"/>
        </a:p>
      </dsp:txBody>
      <dsp:txXfrm>
        <a:off x="5396720" y="1166377"/>
        <a:ext cx="1200372" cy="1910744"/>
      </dsp:txXfrm>
    </dsp:sp>
    <dsp:sp modelId="{FA5B2F3F-E9C6-4FA8-A594-BD7E4420EF1A}">
      <dsp:nvSpPr>
        <dsp:cNvPr id="0" name=""/>
        <dsp:cNvSpPr/>
      </dsp:nvSpPr>
      <dsp:spPr>
        <a:xfrm>
          <a:off x="6761944" y="1963642"/>
          <a:ext cx="270313" cy="31621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100" kern="1200"/>
        </a:p>
      </dsp:txBody>
      <dsp:txXfrm>
        <a:off x="6761944" y="2026885"/>
        <a:ext cx="189219" cy="189729"/>
      </dsp:txXfrm>
    </dsp:sp>
    <dsp:sp modelId="{DDA48195-F45A-4C4E-9C95-26D05C915721}">
      <dsp:nvSpPr>
        <dsp:cNvPr id="0" name=""/>
        <dsp:cNvSpPr/>
      </dsp:nvSpPr>
      <dsp:spPr>
        <a:xfrm>
          <a:off x="7144463" y="1129032"/>
          <a:ext cx="1275062" cy="198543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600" kern="1200" dirty="0" smtClean="0"/>
            <a:t>Ministère de la transformation et de la fonction publiques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600" kern="1200" dirty="0" smtClean="0"/>
            <a:t>Direction Générale  de l’Administration et de la fonction publique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600" kern="1200" dirty="0" smtClean="0"/>
            <a:t>…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600" kern="1200" dirty="0" smtClean="0"/>
            <a:t>Bureau de la formation professionnelle tout au long de la vie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Programme interministériel Mentor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---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smtClean="0"/>
            <a:t>Sara BECARD</a:t>
          </a:r>
        </a:p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800" kern="1200" dirty="0" err="1" smtClean="0"/>
            <a:t>Genaël</a:t>
          </a:r>
          <a:r>
            <a:rPr lang="fr-FR" sz="800" kern="1200" dirty="0" smtClean="0"/>
            <a:t> VALET</a:t>
          </a:r>
          <a:endParaRPr lang="fr-FR" sz="800" kern="1200" dirty="0"/>
        </a:p>
      </dsp:txBody>
      <dsp:txXfrm>
        <a:off x="7181808" y="1166377"/>
        <a:ext cx="1200372" cy="191074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99A272-4021-4058-8B4D-7FC89A912450}">
      <dsp:nvSpPr>
        <dsp:cNvPr id="0" name=""/>
        <dsp:cNvSpPr/>
      </dsp:nvSpPr>
      <dsp:spPr>
        <a:xfrm>
          <a:off x="0" y="4612"/>
          <a:ext cx="8424000" cy="7107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700" b="1" kern="1200" smtClean="0"/>
            <a:t>Contexte</a:t>
          </a:r>
          <a:endParaRPr lang="fr-FR" sz="2700" kern="1200"/>
        </a:p>
      </dsp:txBody>
      <dsp:txXfrm>
        <a:off x="34697" y="39309"/>
        <a:ext cx="8354606" cy="64138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89D781-C7D4-44A0-BF10-5F8E9725FB7E}">
      <dsp:nvSpPr>
        <dsp:cNvPr id="0" name=""/>
        <dsp:cNvSpPr/>
      </dsp:nvSpPr>
      <dsp:spPr>
        <a:xfrm>
          <a:off x="631745" y="0"/>
          <a:ext cx="7159783" cy="2573337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5067A1-59CA-4C0D-B3C4-0B25075D9A4E}">
      <dsp:nvSpPr>
        <dsp:cNvPr id="0" name=""/>
        <dsp:cNvSpPr/>
      </dsp:nvSpPr>
      <dsp:spPr>
        <a:xfrm>
          <a:off x="4215" y="772001"/>
          <a:ext cx="2027673" cy="102933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00" kern="1200" dirty="0" smtClean="0"/>
            <a:t>Choix d’une formation qui présente le sujet de façon large afin de pouvoir l’ouvrir plus largement si besoin (collectivités locales)</a:t>
          </a:r>
          <a:endParaRPr lang="fr-FR" sz="900" kern="1200" dirty="0"/>
        </a:p>
      </dsp:txBody>
      <dsp:txXfrm>
        <a:off x="54463" y="822249"/>
        <a:ext cx="1927177" cy="928838"/>
      </dsp:txXfrm>
    </dsp:sp>
    <dsp:sp modelId="{3B0BB1C2-B72A-4BD5-A1B2-364FDC7AA39D}">
      <dsp:nvSpPr>
        <dsp:cNvPr id="0" name=""/>
        <dsp:cNvSpPr/>
      </dsp:nvSpPr>
      <dsp:spPr>
        <a:xfrm>
          <a:off x="2133272" y="772001"/>
          <a:ext cx="2027673" cy="102933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00" kern="1200" dirty="0" smtClean="0"/>
            <a:t>Public cible : les gestionnaires d'actifs (</a:t>
          </a:r>
          <a:r>
            <a:rPr lang="fr-FR" sz="900" kern="1200" dirty="0" err="1" smtClean="0"/>
            <a:t>asset</a:t>
          </a:r>
          <a:r>
            <a:rPr lang="fr-FR" sz="900" kern="1200" dirty="0" smtClean="0"/>
            <a:t> managers) de parc immobilier public, dans une optique de prise de poste/mise à jour des connaissances/effet réseau</a:t>
          </a:r>
          <a:endParaRPr lang="fr-FR" sz="900" kern="1200" dirty="0"/>
        </a:p>
      </dsp:txBody>
      <dsp:txXfrm>
        <a:off x="2183520" y="822249"/>
        <a:ext cx="1927177" cy="928838"/>
      </dsp:txXfrm>
    </dsp:sp>
    <dsp:sp modelId="{1ACBBCC6-C0A4-41E2-81B2-74957FF4CAEE}">
      <dsp:nvSpPr>
        <dsp:cNvPr id="0" name=""/>
        <dsp:cNvSpPr/>
      </dsp:nvSpPr>
      <dsp:spPr>
        <a:xfrm>
          <a:off x="4262329" y="772001"/>
          <a:ext cx="2027673" cy="102933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00" kern="1200" dirty="0" smtClean="0"/>
            <a:t>Synergie des offres de formation de la DIE et du MTE (proximité des sujets sur la transition énergétique) * </a:t>
          </a:r>
        </a:p>
      </dsp:txBody>
      <dsp:txXfrm>
        <a:off x="4312577" y="822249"/>
        <a:ext cx="1927177" cy="928838"/>
      </dsp:txXfrm>
    </dsp:sp>
    <dsp:sp modelId="{074323D2-6514-4034-A1AB-DE8EB68EBEC8}">
      <dsp:nvSpPr>
        <dsp:cNvPr id="0" name=""/>
        <dsp:cNvSpPr/>
      </dsp:nvSpPr>
      <dsp:spPr>
        <a:xfrm>
          <a:off x="6391386" y="772001"/>
          <a:ext cx="2027673" cy="102933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900" kern="1200" dirty="0" smtClean="0"/>
            <a:t>Co-construction du scénario pédagogique MTE / DIE / CEREMA</a:t>
          </a:r>
          <a:endParaRPr lang="fr-FR" sz="900" kern="1200" dirty="0"/>
        </a:p>
      </dsp:txBody>
      <dsp:txXfrm>
        <a:off x="6441634" y="822249"/>
        <a:ext cx="1927177" cy="92883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99A272-4021-4058-8B4D-7FC89A912450}">
      <dsp:nvSpPr>
        <dsp:cNvPr id="0" name=""/>
        <dsp:cNvSpPr/>
      </dsp:nvSpPr>
      <dsp:spPr>
        <a:xfrm>
          <a:off x="0" y="4612"/>
          <a:ext cx="8424000" cy="7107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700" b="1" kern="1200" dirty="0" smtClean="0"/>
            <a:t>L’offre de formation</a:t>
          </a:r>
          <a:endParaRPr lang="fr-FR" sz="2700" kern="1200" dirty="0"/>
        </a:p>
      </dsp:txBody>
      <dsp:txXfrm>
        <a:off x="34697" y="39309"/>
        <a:ext cx="8354606" cy="64138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4CD42D-03A0-43A5-B11D-1F9DBFC0E21D}">
      <dsp:nvSpPr>
        <dsp:cNvPr id="0" name=""/>
        <dsp:cNvSpPr/>
      </dsp:nvSpPr>
      <dsp:spPr>
        <a:xfrm>
          <a:off x="0" y="8640"/>
          <a:ext cx="7350543" cy="71135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600" b="1" kern="1200" dirty="0" smtClean="0"/>
            <a:t>Dispositif pédagogique en 3 modules – formation Hybride </a:t>
          </a:r>
          <a:br>
            <a:rPr lang="fr-FR" sz="1600" b="1" kern="1200" dirty="0" smtClean="0"/>
          </a:br>
          <a:r>
            <a:rPr lang="fr-FR" sz="1600" b="1" kern="1200" dirty="0" smtClean="0"/>
            <a:t>(logique d’entonnoir)</a:t>
          </a:r>
          <a:endParaRPr lang="fr-FR" sz="1600" kern="1200" dirty="0"/>
        </a:p>
      </dsp:txBody>
      <dsp:txXfrm>
        <a:off x="34726" y="43366"/>
        <a:ext cx="7281091" cy="64190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E916F6-8EFD-4775-9B71-4B5E85FF3FC4}">
      <dsp:nvSpPr>
        <dsp:cNvPr id="0" name=""/>
        <dsp:cNvSpPr/>
      </dsp:nvSpPr>
      <dsp:spPr>
        <a:xfrm>
          <a:off x="0" y="4612"/>
          <a:ext cx="8424000" cy="7107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700" b="1" kern="1200" dirty="0" smtClean="0"/>
            <a:t>Volet technique et pédagogique</a:t>
          </a:r>
          <a:endParaRPr lang="fr-FR" sz="2700" kern="1200" dirty="0"/>
        </a:p>
      </dsp:txBody>
      <dsp:txXfrm>
        <a:off x="34697" y="39309"/>
        <a:ext cx="8354606" cy="64138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F04700-F079-4270-A114-409EBCF97FF2}">
      <dsp:nvSpPr>
        <dsp:cNvPr id="0" name=""/>
        <dsp:cNvSpPr/>
      </dsp:nvSpPr>
      <dsp:spPr>
        <a:xfrm>
          <a:off x="0" y="4612"/>
          <a:ext cx="7884408" cy="7107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700" b="1" kern="1200" smtClean="0"/>
            <a:t>Démonstration</a:t>
          </a:r>
          <a:endParaRPr lang="fr-FR" sz="2700" kern="1200"/>
        </a:p>
      </dsp:txBody>
      <dsp:txXfrm>
        <a:off x="34697" y="39309"/>
        <a:ext cx="7815014" cy="641381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DF8B7C-77C3-4BE0-8E46-D8C74A5765AE}">
      <dsp:nvSpPr>
        <dsp:cNvPr id="0" name=""/>
        <dsp:cNvSpPr/>
      </dsp:nvSpPr>
      <dsp:spPr>
        <a:xfrm>
          <a:off x="0" y="4612"/>
          <a:ext cx="8424000" cy="7107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l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700" b="1" kern="1200" dirty="0" smtClean="0"/>
            <a:t>Calendrier du projet</a:t>
          </a:r>
          <a:endParaRPr lang="fr-FR" sz="2700" kern="1200" dirty="0"/>
        </a:p>
      </dsp:txBody>
      <dsp:txXfrm>
        <a:off x="34697" y="39309"/>
        <a:ext cx="8354606" cy="6413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D680E798-53FF-4C51-A981-953463752515}" type="datetimeFigureOut">
              <a:rPr lang="fr-FR" smtClean="0"/>
              <a:pPr/>
              <a:t>08/11/2023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1B06CD8F-B7ED-4A05-9FB1-A01CC0EF02CC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1662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17.xml"/><Relationship Id="rId7" Type="http://schemas.openxmlformats.org/officeDocument/2006/relationships/image" Target="../media/image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2.xml"/><Relationship Id="rId7" Type="http://schemas.openxmlformats.org/officeDocument/2006/relationships/oleObject" Target="../embeddings/oleObject9.bin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7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9.xml"/><Relationship Id="rId7" Type="http://schemas.openxmlformats.org/officeDocument/2006/relationships/image" Target="../media/image2.emf"/><Relationship Id="rId2" Type="http://schemas.openxmlformats.org/officeDocument/2006/relationships/tags" Target="../tags/tag2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2.xml"/><Relationship Id="rId7" Type="http://schemas.openxmlformats.org/officeDocument/2006/relationships/image" Target="../media/image2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image" Target="../media/image3.png"/><Relationship Id="rId2" Type="http://schemas.openxmlformats.org/officeDocument/2006/relationships/tags" Target="../tags/tag34.xml"/><Relationship Id="rId16" Type="http://schemas.openxmlformats.org/officeDocument/2006/relationships/image" Target="../media/image6.jpeg"/><Relationship Id="rId1" Type="http://schemas.openxmlformats.org/officeDocument/2006/relationships/vmlDrawing" Target="../drawings/vmlDrawing11.vml"/><Relationship Id="rId6" Type="http://schemas.openxmlformats.org/officeDocument/2006/relationships/tags" Target="../tags/tag38.xml"/><Relationship Id="rId11" Type="http://schemas.openxmlformats.org/officeDocument/2006/relationships/image" Target="../media/image2.emf"/><Relationship Id="rId5" Type="http://schemas.openxmlformats.org/officeDocument/2006/relationships/tags" Target="../tags/tag37.xml"/><Relationship Id="rId15" Type="http://schemas.openxmlformats.org/officeDocument/2006/relationships/image" Target="../media/image5.png"/><Relationship Id="rId10" Type="http://schemas.openxmlformats.org/officeDocument/2006/relationships/oleObject" Target="../embeddings/oleObject13.bin"/><Relationship Id="rId4" Type="http://schemas.openxmlformats.org/officeDocument/2006/relationships/tags" Target="../tags/tag36.xml"/><Relationship Id="rId9" Type="http://schemas.openxmlformats.org/officeDocument/2006/relationships/slideMaster" Target="../slideMasters/slideMaster2.xml"/><Relationship Id="rId1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3.xml"/><Relationship Id="rId7" Type="http://schemas.openxmlformats.org/officeDocument/2006/relationships/image" Target="../media/image2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6.xml"/><Relationship Id="rId7" Type="http://schemas.openxmlformats.org/officeDocument/2006/relationships/image" Target="../media/image2.emf"/><Relationship Id="rId2" Type="http://schemas.openxmlformats.org/officeDocument/2006/relationships/tags" Target="../tags/tag4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7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9.xml"/><Relationship Id="rId7" Type="http://schemas.openxmlformats.org/officeDocument/2006/relationships/image" Target="../media/image2.emf"/><Relationship Id="rId2" Type="http://schemas.openxmlformats.org/officeDocument/2006/relationships/tags" Target="../tags/tag48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0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oleObject" Target="../embeddings/oleObject20.bin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image" Target="../media/image3.png"/><Relationship Id="rId2" Type="http://schemas.openxmlformats.org/officeDocument/2006/relationships/tags" Target="../tags/tag51.xml"/><Relationship Id="rId16" Type="http://schemas.openxmlformats.org/officeDocument/2006/relationships/image" Target="../media/image6.jpeg"/><Relationship Id="rId1" Type="http://schemas.openxmlformats.org/officeDocument/2006/relationships/vmlDrawing" Target="../drawings/vmlDrawing16.vml"/><Relationship Id="rId6" Type="http://schemas.openxmlformats.org/officeDocument/2006/relationships/tags" Target="../tags/tag55.xml"/><Relationship Id="rId11" Type="http://schemas.openxmlformats.org/officeDocument/2006/relationships/image" Target="../media/image2.emf"/><Relationship Id="rId5" Type="http://schemas.openxmlformats.org/officeDocument/2006/relationships/tags" Target="../tags/tag54.xml"/><Relationship Id="rId15" Type="http://schemas.openxmlformats.org/officeDocument/2006/relationships/image" Target="../media/image5.png"/><Relationship Id="rId10" Type="http://schemas.openxmlformats.org/officeDocument/2006/relationships/oleObject" Target="../embeddings/oleObject19.bin"/><Relationship Id="rId4" Type="http://schemas.openxmlformats.org/officeDocument/2006/relationships/tags" Target="../tags/tag53.xml"/><Relationship Id="rId9" Type="http://schemas.openxmlformats.org/officeDocument/2006/relationships/slideMaster" Target="../slideMasters/slideMaster2.xml"/><Relationship Id="rId1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0.xml"/><Relationship Id="rId7" Type="http://schemas.openxmlformats.org/officeDocument/2006/relationships/image" Target="../media/image2.emf"/><Relationship Id="rId2" Type="http://schemas.openxmlformats.org/officeDocument/2006/relationships/tags" Target="../tags/tag5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3.xml"/><Relationship Id="rId7" Type="http://schemas.openxmlformats.org/officeDocument/2006/relationships/image" Target="../media/image2.emf"/><Relationship Id="rId2" Type="http://schemas.openxmlformats.org/officeDocument/2006/relationships/tags" Target="../tags/tag6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4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6.xml"/><Relationship Id="rId7" Type="http://schemas.openxmlformats.org/officeDocument/2006/relationships/image" Target="../media/image2.emf"/><Relationship Id="rId2" Type="http://schemas.openxmlformats.org/officeDocument/2006/relationships/tags" Target="../tags/tag65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7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oleObject" Target="../embeddings/oleObject26.bin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image" Target="../media/image3.png"/><Relationship Id="rId2" Type="http://schemas.openxmlformats.org/officeDocument/2006/relationships/tags" Target="../tags/tag68.xml"/><Relationship Id="rId16" Type="http://schemas.openxmlformats.org/officeDocument/2006/relationships/image" Target="../media/image6.jpeg"/><Relationship Id="rId1" Type="http://schemas.openxmlformats.org/officeDocument/2006/relationships/vmlDrawing" Target="../drawings/vmlDrawing21.vml"/><Relationship Id="rId6" Type="http://schemas.openxmlformats.org/officeDocument/2006/relationships/tags" Target="../tags/tag72.xml"/><Relationship Id="rId11" Type="http://schemas.openxmlformats.org/officeDocument/2006/relationships/image" Target="../media/image2.emf"/><Relationship Id="rId5" Type="http://schemas.openxmlformats.org/officeDocument/2006/relationships/tags" Target="../tags/tag71.xml"/><Relationship Id="rId15" Type="http://schemas.openxmlformats.org/officeDocument/2006/relationships/image" Target="../media/image5.png"/><Relationship Id="rId10" Type="http://schemas.openxmlformats.org/officeDocument/2006/relationships/oleObject" Target="../embeddings/oleObject25.bin"/><Relationship Id="rId4" Type="http://schemas.openxmlformats.org/officeDocument/2006/relationships/tags" Target="../tags/tag70.xml"/><Relationship Id="rId9" Type="http://schemas.openxmlformats.org/officeDocument/2006/relationships/slideMaster" Target="../slideMasters/slideMaster2.xml"/><Relationship Id="rId1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7.xml"/><Relationship Id="rId7" Type="http://schemas.openxmlformats.org/officeDocument/2006/relationships/image" Target="../media/image2.emf"/><Relationship Id="rId2" Type="http://schemas.openxmlformats.org/officeDocument/2006/relationships/tags" Target="../tags/tag76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0.xml"/><Relationship Id="rId7" Type="http://schemas.openxmlformats.org/officeDocument/2006/relationships/image" Target="../media/image2.emf"/><Relationship Id="rId2" Type="http://schemas.openxmlformats.org/officeDocument/2006/relationships/tags" Target="../tags/tag79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3.xml"/><Relationship Id="rId7" Type="http://schemas.openxmlformats.org/officeDocument/2006/relationships/image" Target="../media/image2.emf"/><Relationship Id="rId2" Type="http://schemas.openxmlformats.org/officeDocument/2006/relationships/tags" Target="../tags/tag82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oleObject" Target="../embeddings/oleObject5.bin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3.png"/><Relationship Id="rId2" Type="http://schemas.openxmlformats.org/officeDocument/2006/relationships/tags" Target="../tags/tag8.xml"/><Relationship Id="rId16" Type="http://schemas.openxmlformats.org/officeDocument/2006/relationships/image" Target="../media/image6.jpeg"/><Relationship Id="rId1" Type="http://schemas.openxmlformats.org/officeDocument/2006/relationships/vmlDrawing" Target="../drawings/vmlDrawing4.vml"/><Relationship Id="rId6" Type="http://schemas.openxmlformats.org/officeDocument/2006/relationships/tags" Target="../tags/tag12.xml"/><Relationship Id="rId11" Type="http://schemas.openxmlformats.org/officeDocument/2006/relationships/image" Target="../media/image2.emf"/><Relationship Id="rId5" Type="http://schemas.openxmlformats.org/officeDocument/2006/relationships/tags" Target="../tags/tag11.xml"/><Relationship Id="rId15" Type="http://schemas.openxmlformats.org/officeDocument/2006/relationships/image" Target="../media/image5.png"/><Relationship Id="rId10" Type="http://schemas.openxmlformats.org/officeDocument/2006/relationships/oleObject" Target="../embeddings/oleObject4.bin"/><Relationship Id="rId4" Type="http://schemas.openxmlformats.org/officeDocument/2006/relationships/tags" Target="../tags/tag10.xml"/><Relationship Id="rId9" Type="http://schemas.openxmlformats.org/officeDocument/2006/relationships/slideMaster" Target="../slideMasters/slideMaster2.xml"/><Relationship Id="rId1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496350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02A62C05-62CA-4BF1-96D6-129F1C8989AA}" type="datetime1">
              <a:rPr lang="fr-FR" smtClean="0"/>
              <a:t>08/11/2023</a:t>
            </a:fld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496350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755936" y="3919897"/>
            <a:ext cx="3240000" cy="900000"/>
          </a:xfrm>
        </p:spPr>
        <p:txBody>
          <a:bodyPr anchor="b" anchorCtr="0"/>
          <a:lstStyle>
            <a:lvl1pPr>
              <a:defRPr sz="1150"/>
            </a:lvl1pPr>
          </a:lstStyle>
          <a:p>
            <a:r>
              <a:rPr lang="fr-FR" smtClean="0"/>
              <a:t>DRH/SD/FORCQ2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26109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sp>
        <p:nvSpPr>
          <p:cNvPr id="7" name="Rectangle à coins arrondis 10"/>
          <p:cNvSpPr>
            <a:spLocks noChangeArrowheads="1"/>
          </p:cNvSpPr>
          <p:nvPr userDrawn="1"/>
        </p:nvSpPr>
        <p:spPr bwMode="auto">
          <a:xfrm>
            <a:off x="243254" y="627460"/>
            <a:ext cx="6254262" cy="4516040"/>
          </a:xfrm>
          <a:prstGeom prst="roundRect">
            <a:avLst>
              <a:gd name="adj" fmla="val 18106"/>
            </a:avLst>
          </a:prstGeom>
          <a:solidFill>
            <a:schemeClr val="accent1"/>
          </a:solidFill>
          <a:ln>
            <a:noFill/>
          </a:ln>
          <a:extLst/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 smtClean="0">
              <a:ea typeface="ヒラギノ角ゴ Pro W3"/>
              <a:cs typeface="ヒラギノ角ゴ Pro W3"/>
            </a:endParaRPr>
          </a:p>
        </p:txBody>
      </p:sp>
      <p:sp>
        <p:nvSpPr>
          <p:cNvPr id="8" name="Rectangle 45"/>
          <p:cNvSpPr>
            <a:spLocks noChangeArrowheads="1"/>
          </p:cNvSpPr>
          <p:nvPr userDrawn="1"/>
        </p:nvSpPr>
        <p:spPr bwMode="auto">
          <a:xfrm>
            <a:off x="0" y="627460"/>
            <a:ext cx="1863969" cy="451604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 smtClean="0">
              <a:ea typeface="ヒラギノ角ゴ Pro W3"/>
              <a:cs typeface="ヒラギノ角ゴ Pro W3"/>
            </a:endParaRPr>
          </a:p>
        </p:txBody>
      </p:sp>
      <p:sp>
        <p:nvSpPr>
          <p:cNvPr id="9" name="Position Lines"/>
          <p:cNvSpPr>
            <a:spLocks noChangeShapeType="1"/>
          </p:cNvSpPr>
          <p:nvPr/>
        </p:nvSpPr>
        <p:spPr bwMode="auto">
          <a:xfrm>
            <a:off x="332643" y="5164931"/>
            <a:ext cx="0" cy="53579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 sz="1350"/>
          </a:p>
        </p:txBody>
      </p:sp>
      <p:pic>
        <p:nvPicPr>
          <p:cNvPr id="11" name="Picture 238" descr="D:\Users\bertrand_ballarin\AppData\Local\Microsoft\Windows\Temporary Internet Files\Content.Outlook\E047WPI2\bloc-marque-sgmap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176846" y="4085035"/>
            <a:ext cx="967154" cy="1058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ype of document"/>
          <p:cNvSpPr>
            <a:spLocks noGrp="1"/>
          </p:cNvSpPr>
          <p:nvPr>
            <p:ph type="body" sz="quarter" idx="18"/>
          </p:nvPr>
        </p:nvSpPr>
        <p:spPr>
          <a:xfrm>
            <a:off x="976792" y="4029912"/>
            <a:ext cx="5305343" cy="225382"/>
          </a:xfrm>
        </p:spPr>
        <p:txBody>
          <a:bodyPr anchor="ctr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350">
                <a:solidFill>
                  <a:schemeClr val="tx2"/>
                </a:solidFill>
                <a:latin typeface="+mn-lt"/>
                <a:sym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defRPr/>
            </a:lvl2pPr>
            <a:lvl3pPr>
              <a:lnSpc>
                <a:spcPct val="90000"/>
              </a:lnSpc>
              <a:spcBef>
                <a:spcPts val="0"/>
              </a:spcBef>
              <a:defRPr/>
            </a:lvl3pPr>
            <a:lvl4pPr>
              <a:lnSpc>
                <a:spcPct val="90000"/>
              </a:lnSpc>
              <a:spcBef>
                <a:spcPts val="0"/>
              </a:spcBef>
              <a:defRPr/>
            </a:lvl4pPr>
            <a:lvl5pPr>
              <a:lnSpc>
                <a:spcPct val="9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roject name"/>
          <p:cNvSpPr>
            <a:spLocks noGrp="1"/>
          </p:cNvSpPr>
          <p:nvPr>
            <p:ph type="title"/>
          </p:nvPr>
        </p:nvSpPr>
        <p:spPr>
          <a:xfrm>
            <a:off x="994849" y="2008162"/>
            <a:ext cx="5305343" cy="496800"/>
          </a:xfrm>
        </p:spPr>
        <p:txBody>
          <a:bodyPr anchor="t">
            <a:noAutofit/>
          </a:bodyPr>
          <a:lstStyle>
            <a:lvl1pPr>
              <a:defRPr sz="1725" b="1" baseline="0">
                <a:latin typeface="+mj-lt"/>
                <a:sym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9"/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08EF7CB7-A1CB-43BC-8FE6-5BBB79DDDC96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20"/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58931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6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2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8" name="Image 2" descr="frise.png"/>
          <p:cNvPicPr>
            <a:picLocks noChangeAspect="1"/>
          </p:cNvPicPr>
          <p:nvPr/>
        </p:nvPicPr>
        <p:blipFill>
          <a:blip r:embed="rId7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10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11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21AFBB79-0E7F-4236-9938-0F813F9C58F9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2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3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5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6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7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8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9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20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21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22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4" name="Objec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27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34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Contents Title"/>
          <p:cNvSpPr txBox="1">
            <a:spLocks/>
          </p:cNvSpPr>
          <p:nvPr/>
        </p:nvSpPr>
        <p:spPr>
          <a:xfrm>
            <a:off x="681405" y="450451"/>
            <a:ext cx="7879373" cy="24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lvl1pPr algn="l">
              <a:lnSpc>
                <a:spcPct val="93000"/>
              </a:lnSpc>
              <a:defRPr/>
            </a:lvl1pPr>
          </a:lstStyle>
          <a:p>
            <a:pPr eaLnBrk="1" fontAlgn="auto" hangingPunct="1">
              <a:spcAft>
                <a:spcPts val="0"/>
              </a:spcAft>
              <a:tabLst>
                <a:tab pos="6399610" algn="r"/>
              </a:tabLst>
              <a:defRPr/>
            </a:pPr>
            <a:r>
              <a:rPr lang="fr-FR" altLang="de-DE" sz="1725" b="0" noProof="1" smtClean="0">
                <a:solidFill>
                  <a:schemeClr val="tx2"/>
                </a:solidFill>
                <a:latin typeface="+mj-lt"/>
                <a:ea typeface="+mj-ea"/>
                <a:sym typeface="+mn-lt"/>
              </a:rPr>
              <a:t>Contents	Page</a:t>
            </a:r>
            <a:endParaRPr lang="fr-FR" altLang="de-DE" sz="1725" b="0" noProof="1">
              <a:solidFill>
                <a:schemeClr val="tx2"/>
              </a:solidFill>
              <a:latin typeface="+mj-lt"/>
              <a:ea typeface="+mj-ea"/>
              <a:sym typeface="+mn-lt"/>
            </a:endParaRPr>
          </a:p>
        </p:txBody>
      </p:sp>
      <p:sp>
        <p:nvSpPr>
          <p:cNvPr id="5" name="Contents Text"/>
          <p:cNvSpPr>
            <a:spLocks noGrp="1"/>
          </p:cNvSpPr>
          <p:nvPr>
            <p:ph type="body" sz="quarter" idx="10"/>
          </p:nvPr>
        </p:nvSpPr>
        <p:spPr>
          <a:xfrm>
            <a:off x="681231" y="1282500"/>
            <a:ext cx="7879015" cy="1030539"/>
          </a:xfrm>
        </p:spPr>
        <p:txBody>
          <a:bodyPr/>
          <a:lstStyle>
            <a:lvl1pPr marL="270000" indent="-270000">
              <a:spcBef>
                <a:spcPts val="1500"/>
              </a:spcBef>
              <a:tabLst>
                <a:tab pos="6403181" algn="r"/>
              </a:tabLst>
              <a:defRPr sz="1350" b="0">
                <a:solidFill>
                  <a:schemeClr val="tx1"/>
                </a:solidFill>
                <a:latin typeface="+mn-lt"/>
                <a:cs typeface="+mn-cs"/>
                <a:sym typeface="+mn-lt"/>
              </a:defRPr>
            </a:lvl1pPr>
            <a:lvl2pPr marL="540000" indent="-270000">
              <a:spcBef>
                <a:spcPts val="450"/>
              </a:spcBef>
              <a:buNone/>
              <a:tabLst>
                <a:tab pos="6403181" algn="r"/>
              </a:tabLst>
              <a:defRPr sz="1350" b="0">
                <a:solidFill>
                  <a:schemeClr val="tx1"/>
                </a:solidFill>
                <a:latin typeface="+mn-lt"/>
                <a:sym typeface="+mn-lt"/>
              </a:defRPr>
            </a:lvl2pPr>
            <a:lvl3pPr marL="945000" indent="-405000">
              <a:spcBef>
                <a:spcPts val="0"/>
              </a:spcBef>
              <a:buNone/>
              <a:tabLst>
                <a:tab pos="6403181" algn="r"/>
              </a:tabLst>
              <a:defRPr sz="1350" b="0">
                <a:solidFill>
                  <a:schemeClr val="tx1"/>
                </a:solidFill>
                <a:latin typeface="+mn-lt"/>
                <a:sym typeface="+mn-lt"/>
              </a:defRPr>
            </a:lvl3pPr>
            <a:lvl4pPr marL="941785" indent="-401241">
              <a:buNone/>
              <a:tabLst>
                <a:tab pos="6391275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 smtClean="0"/>
          </a:p>
        </p:txBody>
      </p:sp>
      <p:sp>
        <p:nvSpPr>
          <p:cNvPr id="14" name="Title"/>
          <p:cNvSpPr>
            <a:spLocks noGrp="1"/>
          </p:cNvSpPr>
          <p:nvPr>
            <p:ph type="title"/>
          </p:nvPr>
        </p:nvSpPr>
        <p:spPr>
          <a:xfrm>
            <a:off x="1213756" y="398941"/>
            <a:ext cx="731077" cy="225398"/>
          </a:xfrm>
        </p:spPr>
        <p:txBody>
          <a:bodyPr rtlCol="0" anchor="t">
            <a:noAutofit/>
          </a:bodyPr>
          <a:lstStyle>
            <a:lvl1pPr marL="0" indent="0" algn="r" defTabSz="685800" rtl="0" eaLnBrk="1" latinLnBrk="0" hangingPunct="1">
              <a:lnSpc>
                <a:spcPct val="93000"/>
              </a:lnSpc>
              <a:spcBef>
                <a:spcPct val="0"/>
              </a:spcBef>
              <a:buNone/>
              <a:tabLst/>
              <a:defRPr lang="en-US" sz="1575" b="0" kern="1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n-lt"/>
              </a:defRPr>
            </a:lvl1pPr>
          </a:lstStyle>
          <a:p>
            <a:r>
              <a:rPr lang="en-US" noProof="1" smtClean="0"/>
              <a:t>Click to edit Master title style</a:t>
            </a:r>
            <a:endParaRPr lang="fr-FR" noProof="1"/>
          </a:p>
        </p:txBody>
      </p:sp>
      <p:sp>
        <p:nvSpPr>
          <p:cNvPr id="36" name="Slide Number Placeholder" hidden="1"/>
          <p:cNvSpPr>
            <a:spLocks noGrp="1"/>
          </p:cNvSpPr>
          <p:nvPr>
            <p:ph type="sldNum" sz="quarter" idx="11"/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34D7479C-0AC6-4251-A9C7-DCB488F05AD4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7" name="Footer Placeholder" hidden="1"/>
          <p:cNvSpPr>
            <a:spLocks noGrp="1"/>
          </p:cNvSpPr>
          <p:nvPr>
            <p:ph type="ftr" sz="quarter" idx="12"/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00669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osition Lines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944208" y="5164931"/>
            <a:ext cx="0" cy="53579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 sz="1350"/>
          </a:p>
        </p:txBody>
      </p:sp>
      <p:sp>
        <p:nvSpPr>
          <p:cNvPr id="3" name="Slide Number Placeholder" hidden="1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1E14EBFB-DD46-4A40-97B4-32C14927DECE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99164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3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8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3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5" name="Image 2" descr="frise.png"/>
          <p:cNvPicPr>
            <a:picLocks noChangeAspect="1"/>
          </p:cNvPicPr>
          <p:nvPr/>
        </p:nvPicPr>
        <p:blipFill>
          <a:blip r:embed="rId9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7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8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EF5BFD27-B77C-4C44-A6E1-6113D39C443D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9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0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1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2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3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4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5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6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7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8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B Logo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681405" y="406003"/>
            <a:ext cx="1989992" cy="452438"/>
          </a:xfrm>
          <a:custGeom>
            <a:avLst/>
            <a:gdLst/>
            <a:ahLst/>
            <a:cxnLst>
              <a:cxn ang="0">
                <a:pos x="4020" y="1266"/>
              </a:cxn>
              <a:cxn ang="0">
                <a:pos x="1187" y="1205"/>
              </a:cxn>
              <a:cxn ang="0">
                <a:pos x="2614" y="1329"/>
              </a:cxn>
              <a:cxn ang="0">
                <a:pos x="1550" y="1201"/>
              </a:cxn>
              <a:cxn ang="0">
                <a:pos x="1702" y="1118"/>
              </a:cxn>
              <a:cxn ang="0">
                <a:pos x="1825" y="1102"/>
              </a:cxn>
              <a:cxn ang="0">
                <a:pos x="4764" y="1271"/>
              </a:cxn>
              <a:cxn ang="0">
                <a:pos x="4815" y="1074"/>
              </a:cxn>
              <a:cxn ang="0">
                <a:pos x="4919" y="1282"/>
              </a:cxn>
              <a:cxn ang="0">
                <a:pos x="4078" y="1190"/>
              </a:cxn>
              <a:cxn ang="0">
                <a:pos x="4189" y="1345"/>
              </a:cxn>
              <a:cxn ang="0">
                <a:pos x="3412" y="1332"/>
              </a:cxn>
              <a:cxn ang="0">
                <a:pos x="3198" y="1130"/>
              </a:cxn>
              <a:cxn ang="0">
                <a:pos x="3080" y="1274"/>
              </a:cxn>
              <a:cxn ang="0">
                <a:pos x="3154" y="1073"/>
              </a:cxn>
              <a:cxn ang="0">
                <a:pos x="2485" y="1291"/>
              </a:cxn>
              <a:cxn ang="0">
                <a:pos x="1464" y="1315"/>
              </a:cxn>
              <a:cxn ang="0">
                <a:pos x="1405" y="1365"/>
              </a:cxn>
              <a:cxn ang="0">
                <a:pos x="1177" y="1256"/>
              </a:cxn>
              <a:cxn ang="0">
                <a:pos x="1153" y="1311"/>
              </a:cxn>
              <a:cxn ang="0">
                <a:pos x="810" y="1357"/>
              </a:cxn>
              <a:cxn ang="0">
                <a:pos x="718" y="1110"/>
              </a:cxn>
              <a:cxn ang="0">
                <a:pos x="2871" y="1360"/>
              </a:cxn>
              <a:cxn ang="0">
                <a:pos x="2976" y="1112"/>
              </a:cxn>
              <a:cxn ang="0">
                <a:pos x="601" y="1361"/>
              </a:cxn>
              <a:cxn ang="0">
                <a:pos x="4423" y="1081"/>
              </a:cxn>
              <a:cxn ang="0">
                <a:pos x="4325" y="1334"/>
              </a:cxn>
              <a:cxn ang="0">
                <a:pos x="4695" y="1345"/>
              </a:cxn>
              <a:cxn ang="0">
                <a:pos x="3907" y="1357"/>
              </a:cxn>
              <a:cxn ang="0">
                <a:pos x="1073" y="1362"/>
              </a:cxn>
              <a:cxn ang="0">
                <a:pos x="353" y="1366"/>
              </a:cxn>
              <a:cxn ang="0">
                <a:pos x="3644" y="1326"/>
              </a:cxn>
              <a:cxn ang="0">
                <a:pos x="2189" y="989"/>
              </a:cxn>
              <a:cxn ang="0">
                <a:pos x="2190" y="1041"/>
              </a:cxn>
              <a:cxn ang="0">
                <a:pos x="2382" y="1245"/>
              </a:cxn>
              <a:cxn ang="0">
                <a:pos x="77" y="1002"/>
              </a:cxn>
              <a:cxn ang="0">
                <a:pos x="190" y="1343"/>
              </a:cxn>
              <a:cxn ang="0">
                <a:pos x="155" y="1206"/>
              </a:cxn>
              <a:cxn ang="0">
                <a:pos x="1459" y="483"/>
              </a:cxn>
              <a:cxn ang="0">
                <a:pos x="4349" y="545"/>
              </a:cxn>
              <a:cxn ang="0">
                <a:pos x="2491" y="584"/>
              </a:cxn>
              <a:cxn ang="0">
                <a:pos x="5067" y="774"/>
              </a:cxn>
              <a:cxn ang="0">
                <a:pos x="4696" y="216"/>
              </a:cxn>
              <a:cxn ang="0">
                <a:pos x="4606" y="664"/>
              </a:cxn>
              <a:cxn ang="0">
                <a:pos x="4228" y="754"/>
              </a:cxn>
              <a:cxn ang="0">
                <a:pos x="4153" y="320"/>
              </a:cxn>
              <a:cxn ang="0">
                <a:pos x="3635" y="640"/>
              </a:cxn>
              <a:cxn ang="0">
                <a:pos x="3329" y="487"/>
              </a:cxn>
              <a:cxn ang="0">
                <a:pos x="3708" y="186"/>
              </a:cxn>
              <a:cxn ang="0">
                <a:pos x="2096" y="133"/>
              </a:cxn>
              <a:cxn ang="0">
                <a:pos x="1258" y="698"/>
              </a:cxn>
              <a:cxn ang="0">
                <a:pos x="1366" y="292"/>
              </a:cxn>
              <a:cxn ang="0">
                <a:pos x="844" y="144"/>
              </a:cxn>
              <a:cxn ang="0">
                <a:pos x="885" y="772"/>
              </a:cxn>
              <a:cxn ang="0">
                <a:pos x="532" y="282"/>
              </a:cxn>
              <a:cxn ang="0">
                <a:pos x="3064" y="133"/>
              </a:cxn>
              <a:cxn ang="0">
                <a:pos x="5329" y="195"/>
              </a:cxn>
              <a:cxn ang="0">
                <a:pos x="3147" y="6"/>
              </a:cxn>
              <a:cxn ang="0">
                <a:pos x="3257" y="419"/>
              </a:cxn>
              <a:cxn ang="0">
                <a:pos x="2475" y="770"/>
              </a:cxn>
              <a:cxn ang="0">
                <a:pos x="2248" y="226"/>
              </a:cxn>
              <a:cxn ang="0">
                <a:pos x="409" y="27"/>
              </a:cxn>
              <a:cxn ang="0">
                <a:pos x="452" y="545"/>
              </a:cxn>
            </a:cxnLst>
            <a:rect l="0" t="0" r="r" b="b"/>
            <a:pathLst>
              <a:path w="5445" h="1483">
                <a:moveTo>
                  <a:pt x="1515" y="1355"/>
                </a:moveTo>
                <a:lnTo>
                  <a:pt x="1512" y="1355"/>
                </a:lnTo>
                <a:lnTo>
                  <a:pt x="1510" y="1355"/>
                </a:lnTo>
                <a:lnTo>
                  <a:pt x="1505" y="1355"/>
                </a:lnTo>
                <a:lnTo>
                  <a:pt x="1488" y="1356"/>
                </a:lnTo>
                <a:lnTo>
                  <a:pt x="1483" y="1357"/>
                </a:lnTo>
                <a:lnTo>
                  <a:pt x="1481" y="1357"/>
                </a:lnTo>
                <a:lnTo>
                  <a:pt x="1477" y="1359"/>
                </a:lnTo>
                <a:lnTo>
                  <a:pt x="1476" y="1359"/>
                </a:lnTo>
                <a:lnTo>
                  <a:pt x="1473" y="1360"/>
                </a:lnTo>
                <a:lnTo>
                  <a:pt x="1471" y="1360"/>
                </a:lnTo>
                <a:lnTo>
                  <a:pt x="1470" y="1361"/>
                </a:lnTo>
                <a:lnTo>
                  <a:pt x="1467" y="1361"/>
                </a:lnTo>
                <a:lnTo>
                  <a:pt x="1466" y="1362"/>
                </a:lnTo>
                <a:lnTo>
                  <a:pt x="1463" y="1363"/>
                </a:lnTo>
                <a:lnTo>
                  <a:pt x="1460" y="1365"/>
                </a:lnTo>
                <a:lnTo>
                  <a:pt x="1458" y="1366"/>
                </a:lnTo>
                <a:lnTo>
                  <a:pt x="1456" y="1367"/>
                </a:lnTo>
                <a:lnTo>
                  <a:pt x="1454" y="1368"/>
                </a:lnTo>
                <a:lnTo>
                  <a:pt x="1450" y="1372"/>
                </a:lnTo>
                <a:lnTo>
                  <a:pt x="1448" y="1374"/>
                </a:lnTo>
                <a:lnTo>
                  <a:pt x="1447" y="1377"/>
                </a:lnTo>
                <a:lnTo>
                  <a:pt x="1446" y="1379"/>
                </a:lnTo>
                <a:lnTo>
                  <a:pt x="1444" y="1383"/>
                </a:lnTo>
                <a:lnTo>
                  <a:pt x="1443" y="1387"/>
                </a:lnTo>
                <a:lnTo>
                  <a:pt x="1442" y="1389"/>
                </a:lnTo>
                <a:lnTo>
                  <a:pt x="1441" y="1396"/>
                </a:lnTo>
                <a:lnTo>
                  <a:pt x="1441" y="1402"/>
                </a:lnTo>
                <a:lnTo>
                  <a:pt x="1442" y="1410"/>
                </a:lnTo>
                <a:lnTo>
                  <a:pt x="1444" y="1415"/>
                </a:lnTo>
                <a:lnTo>
                  <a:pt x="1444" y="1417"/>
                </a:lnTo>
                <a:lnTo>
                  <a:pt x="1446" y="1420"/>
                </a:lnTo>
                <a:lnTo>
                  <a:pt x="1446" y="1421"/>
                </a:lnTo>
                <a:lnTo>
                  <a:pt x="1447" y="1424"/>
                </a:lnTo>
                <a:lnTo>
                  <a:pt x="1448" y="1426"/>
                </a:lnTo>
                <a:lnTo>
                  <a:pt x="1449" y="1427"/>
                </a:lnTo>
                <a:lnTo>
                  <a:pt x="1452" y="1429"/>
                </a:lnTo>
                <a:lnTo>
                  <a:pt x="1455" y="1433"/>
                </a:lnTo>
                <a:lnTo>
                  <a:pt x="1456" y="1434"/>
                </a:lnTo>
                <a:lnTo>
                  <a:pt x="1459" y="1437"/>
                </a:lnTo>
                <a:lnTo>
                  <a:pt x="1461" y="1438"/>
                </a:lnTo>
                <a:lnTo>
                  <a:pt x="1463" y="1439"/>
                </a:lnTo>
                <a:lnTo>
                  <a:pt x="1465" y="1439"/>
                </a:lnTo>
                <a:lnTo>
                  <a:pt x="1467" y="1442"/>
                </a:lnTo>
                <a:lnTo>
                  <a:pt x="1472" y="1444"/>
                </a:lnTo>
                <a:lnTo>
                  <a:pt x="1475" y="1444"/>
                </a:lnTo>
                <a:lnTo>
                  <a:pt x="1477" y="1445"/>
                </a:lnTo>
                <a:lnTo>
                  <a:pt x="1478" y="1446"/>
                </a:lnTo>
                <a:lnTo>
                  <a:pt x="1481" y="1446"/>
                </a:lnTo>
                <a:lnTo>
                  <a:pt x="1482" y="1448"/>
                </a:lnTo>
                <a:lnTo>
                  <a:pt x="1484" y="1448"/>
                </a:lnTo>
                <a:lnTo>
                  <a:pt x="1487" y="1449"/>
                </a:lnTo>
                <a:lnTo>
                  <a:pt x="1489" y="1449"/>
                </a:lnTo>
                <a:lnTo>
                  <a:pt x="1492" y="1450"/>
                </a:lnTo>
                <a:lnTo>
                  <a:pt x="1495" y="1450"/>
                </a:lnTo>
                <a:lnTo>
                  <a:pt x="1506" y="1452"/>
                </a:lnTo>
                <a:lnTo>
                  <a:pt x="1512" y="1452"/>
                </a:lnTo>
                <a:lnTo>
                  <a:pt x="1516" y="1452"/>
                </a:lnTo>
                <a:lnTo>
                  <a:pt x="1519" y="1452"/>
                </a:lnTo>
                <a:lnTo>
                  <a:pt x="1527" y="1452"/>
                </a:lnTo>
                <a:lnTo>
                  <a:pt x="1535" y="1452"/>
                </a:lnTo>
                <a:lnTo>
                  <a:pt x="1545" y="1451"/>
                </a:lnTo>
                <a:lnTo>
                  <a:pt x="1547" y="1450"/>
                </a:lnTo>
                <a:lnTo>
                  <a:pt x="1550" y="1450"/>
                </a:lnTo>
                <a:lnTo>
                  <a:pt x="1553" y="1449"/>
                </a:lnTo>
                <a:lnTo>
                  <a:pt x="1556" y="1449"/>
                </a:lnTo>
                <a:lnTo>
                  <a:pt x="1558" y="1448"/>
                </a:lnTo>
                <a:lnTo>
                  <a:pt x="1559" y="1448"/>
                </a:lnTo>
                <a:lnTo>
                  <a:pt x="1562" y="1446"/>
                </a:lnTo>
                <a:lnTo>
                  <a:pt x="1563" y="1446"/>
                </a:lnTo>
                <a:lnTo>
                  <a:pt x="1564" y="1445"/>
                </a:lnTo>
                <a:lnTo>
                  <a:pt x="1566" y="1445"/>
                </a:lnTo>
                <a:lnTo>
                  <a:pt x="1569" y="1444"/>
                </a:lnTo>
                <a:lnTo>
                  <a:pt x="1573" y="1442"/>
                </a:lnTo>
                <a:lnTo>
                  <a:pt x="1576" y="1440"/>
                </a:lnTo>
                <a:lnTo>
                  <a:pt x="1579" y="1439"/>
                </a:lnTo>
                <a:lnTo>
                  <a:pt x="1581" y="1438"/>
                </a:lnTo>
                <a:lnTo>
                  <a:pt x="1582" y="1437"/>
                </a:lnTo>
                <a:lnTo>
                  <a:pt x="1583" y="1434"/>
                </a:lnTo>
                <a:lnTo>
                  <a:pt x="1587" y="1432"/>
                </a:lnTo>
                <a:lnTo>
                  <a:pt x="1592" y="1427"/>
                </a:lnTo>
                <a:lnTo>
                  <a:pt x="1594" y="1424"/>
                </a:lnTo>
                <a:lnTo>
                  <a:pt x="1595" y="1423"/>
                </a:lnTo>
                <a:lnTo>
                  <a:pt x="1595" y="1421"/>
                </a:lnTo>
                <a:lnTo>
                  <a:pt x="1598" y="1418"/>
                </a:lnTo>
                <a:lnTo>
                  <a:pt x="1598" y="1417"/>
                </a:lnTo>
                <a:lnTo>
                  <a:pt x="1599" y="1415"/>
                </a:lnTo>
                <a:lnTo>
                  <a:pt x="1600" y="1411"/>
                </a:lnTo>
                <a:lnTo>
                  <a:pt x="1600" y="1409"/>
                </a:lnTo>
                <a:lnTo>
                  <a:pt x="1602" y="1406"/>
                </a:lnTo>
                <a:lnTo>
                  <a:pt x="1602" y="1400"/>
                </a:lnTo>
                <a:lnTo>
                  <a:pt x="1603" y="1398"/>
                </a:lnTo>
                <a:lnTo>
                  <a:pt x="1603" y="1394"/>
                </a:lnTo>
                <a:lnTo>
                  <a:pt x="1602" y="1389"/>
                </a:lnTo>
                <a:lnTo>
                  <a:pt x="1602" y="1387"/>
                </a:lnTo>
                <a:lnTo>
                  <a:pt x="1597" y="1377"/>
                </a:lnTo>
                <a:lnTo>
                  <a:pt x="1592" y="1372"/>
                </a:lnTo>
                <a:lnTo>
                  <a:pt x="1589" y="1370"/>
                </a:lnTo>
                <a:lnTo>
                  <a:pt x="1582" y="1366"/>
                </a:lnTo>
                <a:lnTo>
                  <a:pt x="1575" y="1362"/>
                </a:lnTo>
                <a:lnTo>
                  <a:pt x="1565" y="1360"/>
                </a:lnTo>
                <a:lnTo>
                  <a:pt x="1562" y="1359"/>
                </a:lnTo>
                <a:lnTo>
                  <a:pt x="1557" y="1357"/>
                </a:lnTo>
                <a:lnTo>
                  <a:pt x="1546" y="1356"/>
                </a:lnTo>
                <a:lnTo>
                  <a:pt x="1536" y="1355"/>
                </a:lnTo>
                <a:lnTo>
                  <a:pt x="1515" y="1355"/>
                </a:lnTo>
                <a:close/>
                <a:moveTo>
                  <a:pt x="4110" y="1217"/>
                </a:moveTo>
                <a:lnTo>
                  <a:pt x="4104" y="1217"/>
                </a:lnTo>
                <a:lnTo>
                  <a:pt x="4098" y="1219"/>
                </a:lnTo>
                <a:lnTo>
                  <a:pt x="4094" y="1219"/>
                </a:lnTo>
                <a:lnTo>
                  <a:pt x="4090" y="1219"/>
                </a:lnTo>
                <a:lnTo>
                  <a:pt x="4088" y="1219"/>
                </a:lnTo>
                <a:lnTo>
                  <a:pt x="4085" y="1221"/>
                </a:lnTo>
                <a:lnTo>
                  <a:pt x="4083" y="1221"/>
                </a:lnTo>
                <a:lnTo>
                  <a:pt x="4062" y="1227"/>
                </a:lnTo>
                <a:lnTo>
                  <a:pt x="4059" y="1228"/>
                </a:lnTo>
                <a:lnTo>
                  <a:pt x="4056" y="1229"/>
                </a:lnTo>
                <a:lnTo>
                  <a:pt x="4054" y="1230"/>
                </a:lnTo>
                <a:lnTo>
                  <a:pt x="4049" y="1233"/>
                </a:lnTo>
                <a:lnTo>
                  <a:pt x="4044" y="1235"/>
                </a:lnTo>
                <a:lnTo>
                  <a:pt x="4043" y="1236"/>
                </a:lnTo>
                <a:lnTo>
                  <a:pt x="4042" y="1238"/>
                </a:lnTo>
                <a:lnTo>
                  <a:pt x="4039" y="1239"/>
                </a:lnTo>
                <a:lnTo>
                  <a:pt x="4038" y="1240"/>
                </a:lnTo>
                <a:lnTo>
                  <a:pt x="4035" y="1244"/>
                </a:lnTo>
                <a:lnTo>
                  <a:pt x="4029" y="1249"/>
                </a:lnTo>
                <a:lnTo>
                  <a:pt x="4027" y="1251"/>
                </a:lnTo>
                <a:lnTo>
                  <a:pt x="4026" y="1254"/>
                </a:lnTo>
                <a:lnTo>
                  <a:pt x="4025" y="1256"/>
                </a:lnTo>
                <a:lnTo>
                  <a:pt x="4024" y="1257"/>
                </a:lnTo>
                <a:lnTo>
                  <a:pt x="4023" y="1260"/>
                </a:lnTo>
                <a:lnTo>
                  <a:pt x="4021" y="1262"/>
                </a:lnTo>
                <a:lnTo>
                  <a:pt x="4021" y="1263"/>
                </a:lnTo>
                <a:lnTo>
                  <a:pt x="4020" y="1266"/>
                </a:lnTo>
                <a:lnTo>
                  <a:pt x="4019" y="1272"/>
                </a:lnTo>
                <a:lnTo>
                  <a:pt x="4018" y="1274"/>
                </a:lnTo>
                <a:lnTo>
                  <a:pt x="4018" y="1278"/>
                </a:lnTo>
                <a:lnTo>
                  <a:pt x="4017" y="1283"/>
                </a:lnTo>
                <a:lnTo>
                  <a:pt x="4017" y="1289"/>
                </a:lnTo>
                <a:lnTo>
                  <a:pt x="4017" y="1293"/>
                </a:lnTo>
                <a:lnTo>
                  <a:pt x="4017" y="1295"/>
                </a:lnTo>
                <a:lnTo>
                  <a:pt x="4017" y="1299"/>
                </a:lnTo>
                <a:lnTo>
                  <a:pt x="4020" y="1308"/>
                </a:lnTo>
                <a:lnTo>
                  <a:pt x="4021" y="1311"/>
                </a:lnTo>
                <a:lnTo>
                  <a:pt x="4023" y="1313"/>
                </a:lnTo>
                <a:lnTo>
                  <a:pt x="4025" y="1316"/>
                </a:lnTo>
                <a:lnTo>
                  <a:pt x="4027" y="1317"/>
                </a:lnTo>
                <a:lnTo>
                  <a:pt x="4029" y="1321"/>
                </a:lnTo>
                <a:lnTo>
                  <a:pt x="4032" y="1323"/>
                </a:lnTo>
                <a:lnTo>
                  <a:pt x="4033" y="1324"/>
                </a:lnTo>
                <a:lnTo>
                  <a:pt x="4036" y="1324"/>
                </a:lnTo>
                <a:lnTo>
                  <a:pt x="4038" y="1326"/>
                </a:lnTo>
                <a:lnTo>
                  <a:pt x="4041" y="1327"/>
                </a:lnTo>
                <a:lnTo>
                  <a:pt x="4050" y="1330"/>
                </a:lnTo>
                <a:lnTo>
                  <a:pt x="4056" y="1330"/>
                </a:lnTo>
                <a:lnTo>
                  <a:pt x="4062" y="1330"/>
                </a:lnTo>
                <a:lnTo>
                  <a:pt x="4068" y="1329"/>
                </a:lnTo>
                <a:lnTo>
                  <a:pt x="4073" y="1328"/>
                </a:lnTo>
                <a:lnTo>
                  <a:pt x="4076" y="1328"/>
                </a:lnTo>
                <a:lnTo>
                  <a:pt x="4078" y="1327"/>
                </a:lnTo>
                <a:lnTo>
                  <a:pt x="4082" y="1324"/>
                </a:lnTo>
                <a:lnTo>
                  <a:pt x="4085" y="1323"/>
                </a:lnTo>
                <a:lnTo>
                  <a:pt x="4087" y="1322"/>
                </a:lnTo>
                <a:lnTo>
                  <a:pt x="4089" y="1321"/>
                </a:lnTo>
                <a:lnTo>
                  <a:pt x="4090" y="1319"/>
                </a:lnTo>
                <a:lnTo>
                  <a:pt x="4096" y="1313"/>
                </a:lnTo>
                <a:lnTo>
                  <a:pt x="4099" y="1312"/>
                </a:lnTo>
                <a:lnTo>
                  <a:pt x="4100" y="1310"/>
                </a:lnTo>
                <a:lnTo>
                  <a:pt x="4101" y="1307"/>
                </a:lnTo>
                <a:lnTo>
                  <a:pt x="4102" y="1306"/>
                </a:lnTo>
                <a:lnTo>
                  <a:pt x="4102" y="1304"/>
                </a:lnTo>
                <a:lnTo>
                  <a:pt x="4105" y="1300"/>
                </a:lnTo>
                <a:lnTo>
                  <a:pt x="4105" y="1299"/>
                </a:lnTo>
                <a:lnTo>
                  <a:pt x="4107" y="1294"/>
                </a:lnTo>
                <a:lnTo>
                  <a:pt x="4107" y="1291"/>
                </a:lnTo>
                <a:lnTo>
                  <a:pt x="4110" y="1283"/>
                </a:lnTo>
                <a:lnTo>
                  <a:pt x="4110" y="1278"/>
                </a:lnTo>
                <a:lnTo>
                  <a:pt x="4110" y="1273"/>
                </a:lnTo>
                <a:lnTo>
                  <a:pt x="4110" y="1267"/>
                </a:lnTo>
                <a:lnTo>
                  <a:pt x="4110" y="1257"/>
                </a:lnTo>
                <a:lnTo>
                  <a:pt x="4110" y="1217"/>
                </a:lnTo>
                <a:close/>
                <a:moveTo>
                  <a:pt x="835" y="1217"/>
                </a:moveTo>
                <a:lnTo>
                  <a:pt x="829" y="1217"/>
                </a:lnTo>
                <a:lnTo>
                  <a:pt x="823" y="1219"/>
                </a:lnTo>
                <a:lnTo>
                  <a:pt x="817" y="1219"/>
                </a:lnTo>
                <a:lnTo>
                  <a:pt x="815" y="1219"/>
                </a:lnTo>
                <a:lnTo>
                  <a:pt x="811" y="1221"/>
                </a:lnTo>
                <a:lnTo>
                  <a:pt x="809" y="1221"/>
                </a:lnTo>
                <a:lnTo>
                  <a:pt x="806" y="1222"/>
                </a:lnTo>
                <a:lnTo>
                  <a:pt x="804" y="1222"/>
                </a:lnTo>
                <a:lnTo>
                  <a:pt x="799" y="1223"/>
                </a:lnTo>
                <a:lnTo>
                  <a:pt x="794" y="1224"/>
                </a:lnTo>
                <a:lnTo>
                  <a:pt x="793" y="1225"/>
                </a:lnTo>
                <a:lnTo>
                  <a:pt x="786" y="1228"/>
                </a:lnTo>
                <a:lnTo>
                  <a:pt x="781" y="1229"/>
                </a:lnTo>
                <a:lnTo>
                  <a:pt x="778" y="1230"/>
                </a:lnTo>
                <a:lnTo>
                  <a:pt x="777" y="1232"/>
                </a:lnTo>
                <a:lnTo>
                  <a:pt x="774" y="1233"/>
                </a:lnTo>
                <a:lnTo>
                  <a:pt x="771" y="1234"/>
                </a:lnTo>
                <a:lnTo>
                  <a:pt x="766" y="1236"/>
                </a:lnTo>
                <a:lnTo>
                  <a:pt x="765" y="1238"/>
                </a:lnTo>
                <a:lnTo>
                  <a:pt x="764" y="1239"/>
                </a:lnTo>
                <a:lnTo>
                  <a:pt x="763" y="1240"/>
                </a:lnTo>
                <a:lnTo>
                  <a:pt x="758" y="1244"/>
                </a:lnTo>
                <a:lnTo>
                  <a:pt x="755" y="1246"/>
                </a:lnTo>
                <a:lnTo>
                  <a:pt x="752" y="1250"/>
                </a:lnTo>
                <a:lnTo>
                  <a:pt x="751" y="1251"/>
                </a:lnTo>
                <a:lnTo>
                  <a:pt x="749" y="1254"/>
                </a:lnTo>
                <a:lnTo>
                  <a:pt x="748" y="1255"/>
                </a:lnTo>
                <a:lnTo>
                  <a:pt x="748" y="1257"/>
                </a:lnTo>
                <a:lnTo>
                  <a:pt x="746" y="1262"/>
                </a:lnTo>
                <a:lnTo>
                  <a:pt x="745" y="1263"/>
                </a:lnTo>
                <a:lnTo>
                  <a:pt x="743" y="1267"/>
                </a:lnTo>
                <a:lnTo>
                  <a:pt x="743" y="1269"/>
                </a:lnTo>
                <a:lnTo>
                  <a:pt x="742" y="1272"/>
                </a:lnTo>
                <a:lnTo>
                  <a:pt x="742" y="1274"/>
                </a:lnTo>
                <a:lnTo>
                  <a:pt x="741" y="1278"/>
                </a:lnTo>
                <a:lnTo>
                  <a:pt x="741" y="1283"/>
                </a:lnTo>
                <a:lnTo>
                  <a:pt x="740" y="1289"/>
                </a:lnTo>
                <a:lnTo>
                  <a:pt x="740" y="1293"/>
                </a:lnTo>
                <a:lnTo>
                  <a:pt x="740" y="1296"/>
                </a:lnTo>
                <a:lnTo>
                  <a:pt x="741" y="1300"/>
                </a:lnTo>
                <a:lnTo>
                  <a:pt x="741" y="1302"/>
                </a:lnTo>
                <a:lnTo>
                  <a:pt x="743" y="1307"/>
                </a:lnTo>
                <a:lnTo>
                  <a:pt x="745" y="1311"/>
                </a:lnTo>
                <a:lnTo>
                  <a:pt x="747" y="1315"/>
                </a:lnTo>
                <a:lnTo>
                  <a:pt x="748" y="1316"/>
                </a:lnTo>
                <a:lnTo>
                  <a:pt x="749" y="1317"/>
                </a:lnTo>
                <a:lnTo>
                  <a:pt x="752" y="1321"/>
                </a:lnTo>
                <a:lnTo>
                  <a:pt x="753" y="1322"/>
                </a:lnTo>
                <a:lnTo>
                  <a:pt x="755" y="1323"/>
                </a:lnTo>
                <a:lnTo>
                  <a:pt x="757" y="1324"/>
                </a:lnTo>
                <a:lnTo>
                  <a:pt x="759" y="1326"/>
                </a:lnTo>
                <a:lnTo>
                  <a:pt x="761" y="1327"/>
                </a:lnTo>
                <a:lnTo>
                  <a:pt x="764" y="1328"/>
                </a:lnTo>
                <a:lnTo>
                  <a:pt x="766" y="1329"/>
                </a:lnTo>
                <a:lnTo>
                  <a:pt x="770" y="1330"/>
                </a:lnTo>
                <a:lnTo>
                  <a:pt x="774" y="1330"/>
                </a:lnTo>
                <a:lnTo>
                  <a:pt x="778" y="1332"/>
                </a:lnTo>
                <a:lnTo>
                  <a:pt x="781" y="1332"/>
                </a:lnTo>
                <a:lnTo>
                  <a:pt x="786" y="1332"/>
                </a:lnTo>
                <a:lnTo>
                  <a:pt x="792" y="1330"/>
                </a:lnTo>
                <a:lnTo>
                  <a:pt x="794" y="1330"/>
                </a:lnTo>
                <a:lnTo>
                  <a:pt x="797" y="1330"/>
                </a:lnTo>
                <a:lnTo>
                  <a:pt x="799" y="1329"/>
                </a:lnTo>
                <a:lnTo>
                  <a:pt x="801" y="1328"/>
                </a:lnTo>
                <a:lnTo>
                  <a:pt x="805" y="1327"/>
                </a:lnTo>
                <a:lnTo>
                  <a:pt x="807" y="1326"/>
                </a:lnTo>
                <a:lnTo>
                  <a:pt x="811" y="1323"/>
                </a:lnTo>
                <a:lnTo>
                  <a:pt x="812" y="1322"/>
                </a:lnTo>
                <a:lnTo>
                  <a:pt x="813" y="1321"/>
                </a:lnTo>
                <a:lnTo>
                  <a:pt x="817" y="1318"/>
                </a:lnTo>
                <a:lnTo>
                  <a:pt x="821" y="1315"/>
                </a:lnTo>
                <a:lnTo>
                  <a:pt x="822" y="1313"/>
                </a:lnTo>
                <a:lnTo>
                  <a:pt x="824" y="1311"/>
                </a:lnTo>
                <a:lnTo>
                  <a:pt x="826" y="1310"/>
                </a:lnTo>
                <a:lnTo>
                  <a:pt x="827" y="1307"/>
                </a:lnTo>
                <a:lnTo>
                  <a:pt x="827" y="1306"/>
                </a:lnTo>
                <a:lnTo>
                  <a:pt x="830" y="1300"/>
                </a:lnTo>
                <a:lnTo>
                  <a:pt x="833" y="1293"/>
                </a:lnTo>
                <a:lnTo>
                  <a:pt x="834" y="1287"/>
                </a:lnTo>
                <a:lnTo>
                  <a:pt x="834" y="1280"/>
                </a:lnTo>
                <a:lnTo>
                  <a:pt x="835" y="1266"/>
                </a:lnTo>
                <a:lnTo>
                  <a:pt x="835" y="1217"/>
                </a:lnTo>
                <a:close/>
                <a:moveTo>
                  <a:pt x="1172" y="1208"/>
                </a:moveTo>
                <a:lnTo>
                  <a:pt x="1177" y="1208"/>
                </a:lnTo>
                <a:lnTo>
                  <a:pt x="1181" y="1207"/>
                </a:lnTo>
                <a:lnTo>
                  <a:pt x="1187" y="1205"/>
                </a:lnTo>
                <a:lnTo>
                  <a:pt x="1192" y="1205"/>
                </a:lnTo>
                <a:lnTo>
                  <a:pt x="1201" y="1202"/>
                </a:lnTo>
                <a:lnTo>
                  <a:pt x="1206" y="1201"/>
                </a:lnTo>
                <a:lnTo>
                  <a:pt x="1211" y="1200"/>
                </a:lnTo>
                <a:lnTo>
                  <a:pt x="1214" y="1200"/>
                </a:lnTo>
                <a:lnTo>
                  <a:pt x="1216" y="1199"/>
                </a:lnTo>
                <a:lnTo>
                  <a:pt x="1218" y="1199"/>
                </a:lnTo>
                <a:lnTo>
                  <a:pt x="1221" y="1197"/>
                </a:lnTo>
                <a:lnTo>
                  <a:pt x="1227" y="1196"/>
                </a:lnTo>
                <a:lnTo>
                  <a:pt x="1234" y="1194"/>
                </a:lnTo>
                <a:lnTo>
                  <a:pt x="1249" y="1190"/>
                </a:lnTo>
                <a:lnTo>
                  <a:pt x="1256" y="1189"/>
                </a:lnTo>
                <a:lnTo>
                  <a:pt x="1274" y="1184"/>
                </a:lnTo>
                <a:lnTo>
                  <a:pt x="1281" y="1183"/>
                </a:lnTo>
                <a:lnTo>
                  <a:pt x="1296" y="1178"/>
                </a:lnTo>
                <a:lnTo>
                  <a:pt x="1297" y="1177"/>
                </a:lnTo>
                <a:lnTo>
                  <a:pt x="1298" y="1167"/>
                </a:lnTo>
                <a:lnTo>
                  <a:pt x="1298" y="1161"/>
                </a:lnTo>
                <a:lnTo>
                  <a:pt x="1295" y="1149"/>
                </a:lnTo>
                <a:lnTo>
                  <a:pt x="1293" y="1146"/>
                </a:lnTo>
                <a:lnTo>
                  <a:pt x="1292" y="1144"/>
                </a:lnTo>
                <a:lnTo>
                  <a:pt x="1292" y="1143"/>
                </a:lnTo>
                <a:lnTo>
                  <a:pt x="1291" y="1140"/>
                </a:lnTo>
                <a:lnTo>
                  <a:pt x="1288" y="1138"/>
                </a:lnTo>
                <a:lnTo>
                  <a:pt x="1288" y="1135"/>
                </a:lnTo>
                <a:lnTo>
                  <a:pt x="1287" y="1134"/>
                </a:lnTo>
                <a:lnTo>
                  <a:pt x="1286" y="1132"/>
                </a:lnTo>
                <a:lnTo>
                  <a:pt x="1285" y="1130"/>
                </a:lnTo>
                <a:lnTo>
                  <a:pt x="1284" y="1129"/>
                </a:lnTo>
                <a:lnTo>
                  <a:pt x="1280" y="1125"/>
                </a:lnTo>
                <a:lnTo>
                  <a:pt x="1274" y="1119"/>
                </a:lnTo>
                <a:lnTo>
                  <a:pt x="1273" y="1117"/>
                </a:lnTo>
                <a:lnTo>
                  <a:pt x="1270" y="1117"/>
                </a:lnTo>
                <a:lnTo>
                  <a:pt x="1269" y="1116"/>
                </a:lnTo>
                <a:lnTo>
                  <a:pt x="1267" y="1114"/>
                </a:lnTo>
                <a:lnTo>
                  <a:pt x="1262" y="1112"/>
                </a:lnTo>
                <a:lnTo>
                  <a:pt x="1259" y="1112"/>
                </a:lnTo>
                <a:lnTo>
                  <a:pt x="1258" y="1111"/>
                </a:lnTo>
                <a:lnTo>
                  <a:pt x="1257" y="1111"/>
                </a:lnTo>
                <a:lnTo>
                  <a:pt x="1255" y="1110"/>
                </a:lnTo>
                <a:lnTo>
                  <a:pt x="1251" y="1110"/>
                </a:lnTo>
                <a:lnTo>
                  <a:pt x="1246" y="1108"/>
                </a:lnTo>
                <a:lnTo>
                  <a:pt x="1238" y="1108"/>
                </a:lnTo>
                <a:lnTo>
                  <a:pt x="1233" y="1110"/>
                </a:lnTo>
                <a:lnTo>
                  <a:pt x="1230" y="1110"/>
                </a:lnTo>
                <a:lnTo>
                  <a:pt x="1229" y="1111"/>
                </a:lnTo>
                <a:lnTo>
                  <a:pt x="1224" y="1112"/>
                </a:lnTo>
                <a:lnTo>
                  <a:pt x="1222" y="1113"/>
                </a:lnTo>
                <a:lnTo>
                  <a:pt x="1218" y="1114"/>
                </a:lnTo>
                <a:lnTo>
                  <a:pt x="1215" y="1117"/>
                </a:lnTo>
                <a:lnTo>
                  <a:pt x="1212" y="1118"/>
                </a:lnTo>
                <a:lnTo>
                  <a:pt x="1210" y="1119"/>
                </a:lnTo>
                <a:lnTo>
                  <a:pt x="1209" y="1121"/>
                </a:lnTo>
                <a:lnTo>
                  <a:pt x="1206" y="1123"/>
                </a:lnTo>
                <a:lnTo>
                  <a:pt x="1203" y="1127"/>
                </a:lnTo>
                <a:lnTo>
                  <a:pt x="1198" y="1132"/>
                </a:lnTo>
                <a:lnTo>
                  <a:pt x="1195" y="1134"/>
                </a:lnTo>
                <a:lnTo>
                  <a:pt x="1193" y="1136"/>
                </a:lnTo>
                <a:lnTo>
                  <a:pt x="1192" y="1139"/>
                </a:lnTo>
                <a:lnTo>
                  <a:pt x="1191" y="1140"/>
                </a:lnTo>
                <a:lnTo>
                  <a:pt x="1189" y="1143"/>
                </a:lnTo>
                <a:lnTo>
                  <a:pt x="1186" y="1150"/>
                </a:lnTo>
                <a:lnTo>
                  <a:pt x="1182" y="1156"/>
                </a:lnTo>
                <a:lnTo>
                  <a:pt x="1180" y="1163"/>
                </a:lnTo>
                <a:lnTo>
                  <a:pt x="1177" y="1172"/>
                </a:lnTo>
                <a:lnTo>
                  <a:pt x="1176" y="1180"/>
                </a:lnTo>
                <a:lnTo>
                  <a:pt x="1174" y="1189"/>
                </a:lnTo>
                <a:lnTo>
                  <a:pt x="1174" y="1199"/>
                </a:lnTo>
                <a:lnTo>
                  <a:pt x="1172" y="1208"/>
                </a:lnTo>
                <a:close/>
                <a:moveTo>
                  <a:pt x="2587" y="1105"/>
                </a:moveTo>
                <a:lnTo>
                  <a:pt x="2585" y="1105"/>
                </a:lnTo>
                <a:lnTo>
                  <a:pt x="2583" y="1106"/>
                </a:lnTo>
                <a:lnTo>
                  <a:pt x="2578" y="1106"/>
                </a:lnTo>
                <a:lnTo>
                  <a:pt x="2566" y="1111"/>
                </a:lnTo>
                <a:lnTo>
                  <a:pt x="2562" y="1113"/>
                </a:lnTo>
                <a:lnTo>
                  <a:pt x="2560" y="1114"/>
                </a:lnTo>
                <a:lnTo>
                  <a:pt x="2559" y="1116"/>
                </a:lnTo>
                <a:lnTo>
                  <a:pt x="2556" y="1117"/>
                </a:lnTo>
                <a:lnTo>
                  <a:pt x="2553" y="1121"/>
                </a:lnTo>
                <a:lnTo>
                  <a:pt x="2548" y="1125"/>
                </a:lnTo>
                <a:lnTo>
                  <a:pt x="2544" y="1129"/>
                </a:lnTo>
                <a:lnTo>
                  <a:pt x="2541" y="1134"/>
                </a:lnTo>
                <a:lnTo>
                  <a:pt x="2535" y="1145"/>
                </a:lnTo>
                <a:lnTo>
                  <a:pt x="2530" y="1156"/>
                </a:lnTo>
                <a:lnTo>
                  <a:pt x="2530" y="1160"/>
                </a:lnTo>
                <a:lnTo>
                  <a:pt x="2529" y="1161"/>
                </a:lnTo>
                <a:lnTo>
                  <a:pt x="2529" y="1162"/>
                </a:lnTo>
                <a:lnTo>
                  <a:pt x="2527" y="1164"/>
                </a:lnTo>
                <a:lnTo>
                  <a:pt x="2527" y="1166"/>
                </a:lnTo>
                <a:lnTo>
                  <a:pt x="2526" y="1171"/>
                </a:lnTo>
                <a:lnTo>
                  <a:pt x="2525" y="1173"/>
                </a:lnTo>
                <a:lnTo>
                  <a:pt x="2525" y="1175"/>
                </a:lnTo>
                <a:lnTo>
                  <a:pt x="2524" y="1178"/>
                </a:lnTo>
                <a:lnTo>
                  <a:pt x="2524" y="1180"/>
                </a:lnTo>
                <a:lnTo>
                  <a:pt x="2523" y="1184"/>
                </a:lnTo>
                <a:lnTo>
                  <a:pt x="2523" y="1188"/>
                </a:lnTo>
                <a:lnTo>
                  <a:pt x="2521" y="1190"/>
                </a:lnTo>
                <a:lnTo>
                  <a:pt x="2521" y="1195"/>
                </a:lnTo>
                <a:lnTo>
                  <a:pt x="2520" y="1211"/>
                </a:lnTo>
                <a:lnTo>
                  <a:pt x="2520" y="1217"/>
                </a:lnTo>
                <a:lnTo>
                  <a:pt x="2519" y="1236"/>
                </a:lnTo>
                <a:lnTo>
                  <a:pt x="2520" y="1245"/>
                </a:lnTo>
                <a:lnTo>
                  <a:pt x="2520" y="1250"/>
                </a:lnTo>
                <a:lnTo>
                  <a:pt x="2525" y="1273"/>
                </a:lnTo>
                <a:lnTo>
                  <a:pt x="2526" y="1278"/>
                </a:lnTo>
                <a:lnTo>
                  <a:pt x="2526" y="1279"/>
                </a:lnTo>
                <a:lnTo>
                  <a:pt x="2527" y="1280"/>
                </a:lnTo>
                <a:lnTo>
                  <a:pt x="2527" y="1283"/>
                </a:lnTo>
                <a:lnTo>
                  <a:pt x="2529" y="1285"/>
                </a:lnTo>
                <a:lnTo>
                  <a:pt x="2530" y="1289"/>
                </a:lnTo>
                <a:lnTo>
                  <a:pt x="2531" y="1291"/>
                </a:lnTo>
                <a:lnTo>
                  <a:pt x="2533" y="1295"/>
                </a:lnTo>
                <a:lnTo>
                  <a:pt x="2535" y="1300"/>
                </a:lnTo>
                <a:lnTo>
                  <a:pt x="2537" y="1304"/>
                </a:lnTo>
                <a:lnTo>
                  <a:pt x="2538" y="1306"/>
                </a:lnTo>
                <a:lnTo>
                  <a:pt x="2539" y="1307"/>
                </a:lnTo>
                <a:lnTo>
                  <a:pt x="2541" y="1308"/>
                </a:lnTo>
                <a:lnTo>
                  <a:pt x="2543" y="1311"/>
                </a:lnTo>
                <a:lnTo>
                  <a:pt x="2546" y="1313"/>
                </a:lnTo>
                <a:lnTo>
                  <a:pt x="2549" y="1317"/>
                </a:lnTo>
                <a:lnTo>
                  <a:pt x="2553" y="1322"/>
                </a:lnTo>
                <a:lnTo>
                  <a:pt x="2561" y="1327"/>
                </a:lnTo>
                <a:lnTo>
                  <a:pt x="2565" y="1329"/>
                </a:lnTo>
                <a:lnTo>
                  <a:pt x="2570" y="1332"/>
                </a:lnTo>
                <a:lnTo>
                  <a:pt x="2578" y="1334"/>
                </a:lnTo>
                <a:lnTo>
                  <a:pt x="2581" y="1334"/>
                </a:lnTo>
                <a:lnTo>
                  <a:pt x="2588" y="1335"/>
                </a:lnTo>
                <a:lnTo>
                  <a:pt x="2591" y="1335"/>
                </a:lnTo>
                <a:lnTo>
                  <a:pt x="2601" y="1334"/>
                </a:lnTo>
                <a:lnTo>
                  <a:pt x="2604" y="1334"/>
                </a:lnTo>
                <a:lnTo>
                  <a:pt x="2605" y="1333"/>
                </a:lnTo>
                <a:lnTo>
                  <a:pt x="2607" y="1333"/>
                </a:lnTo>
                <a:lnTo>
                  <a:pt x="2608" y="1332"/>
                </a:lnTo>
                <a:lnTo>
                  <a:pt x="2614" y="1329"/>
                </a:lnTo>
                <a:lnTo>
                  <a:pt x="2618" y="1327"/>
                </a:lnTo>
                <a:lnTo>
                  <a:pt x="2619" y="1326"/>
                </a:lnTo>
                <a:lnTo>
                  <a:pt x="2622" y="1324"/>
                </a:lnTo>
                <a:lnTo>
                  <a:pt x="2623" y="1323"/>
                </a:lnTo>
                <a:lnTo>
                  <a:pt x="2625" y="1321"/>
                </a:lnTo>
                <a:lnTo>
                  <a:pt x="2630" y="1316"/>
                </a:lnTo>
                <a:lnTo>
                  <a:pt x="2633" y="1315"/>
                </a:lnTo>
                <a:lnTo>
                  <a:pt x="2635" y="1311"/>
                </a:lnTo>
                <a:lnTo>
                  <a:pt x="2636" y="1310"/>
                </a:lnTo>
                <a:lnTo>
                  <a:pt x="2636" y="1307"/>
                </a:lnTo>
                <a:lnTo>
                  <a:pt x="2637" y="1306"/>
                </a:lnTo>
                <a:lnTo>
                  <a:pt x="2640" y="1304"/>
                </a:lnTo>
                <a:lnTo>
                  <a:pt x="2641" y="1301"/>
                </a:lnTo>
                <a:lnTo>
                  <a:pt x="2642" y="1300"/>
                </a:lnTo>
                <a:lnTo>
                  <a:pt x="2643" y="1298"/>
                </a:lnTo>
                <a:lnTo>
                  <a:pt x="2645" y="1295"/>
                </a:lnTo>
                <a:lnTo>
                  <a:pt x="2646" y="1293"/>
                </a:lnTo>
                <a:lnTo>
                  <a:pt x="2647" y="1289"/>
                </a:lnTo>
                <a:lnTo>
                  <a:pt x="2648" y="1288"/>
                </a:lnTo>
                <a:lnTo>
                  <a:pt x="2649" y="1283"/>
                </a:lnTo>
                <a:lnTo>
                  <a:pt x="2656" y="1262"/>
                </a:lnTo>
                <a:lnTo>
                  <a:pt x="2657" y="1250"/>
                </a:lnTo>
                <a:lnTo>
                  <a:pt x="2658" y="1246"/>
                </a:lnTo>
                <a:lnTo>
                  <a:pt x="2658" y="1239"/>
                </a:lnTo>
                <a:lnTo>
                  <a:pt x="2659" y="1228"/>
                </a:lnTo>
                <a:lnTo>
                  <a:pt x="2659" y="1225"/>
                </a:lnTo>
                <a:lnTo>
                  <a:pt x="2659" y="1221"/>
                </a:lnTo>
                <a:lnTo>
                  <a:pt x="2659" y="1213"/>
                </a:lnTo>
                <a:lnTo>
                  <a:pt x="2659" y="1207"/>
                </a:lnTo>
                <a:lnTo>
                  <a:pt x="2659" y="1202"/>
                </a:lnTo>
                <a:lnTo>
                  <a:pt x="2658" y="1196"/>
                </a:lnTo>
                <a:lnTo>
                  <a:pt x="2657" y="1188"/>
                </a:lnTo>
                <a:lnTo>
                  <a:pt x="2653" y="1168"/>
                </a:lnTo>
                <a:lnTo>
                  <a:pt x="2652" y="1163"/>
                </a:lnTo>
                <a:lnTo>
                  <a:pt x="2651" y="1162"/>
                </a:lnTo>
                <a:lnTo>
                  <a:pt x="2651" y="1161"/>
                </a:lnTo>
                <a:lnTo>
                  <a:pt x="2651" y="1158"/>
                </a:lnTo>
                <a:lnTo>
                  <a:pt x="2649" y="1157"/>
                </a:lnTo>
                <a:lnTo>
                  <a:pt x="2648" y="1152"/>
                </a:lnTo>
                <a:lnTo>
                  <a:pt x="2647" y="1150"/>
                </a:lnTo>
                <a:lnTo>
                  <a:pt x="2646" y="1147"/>
                </a:lnTo>
                <a:lnTo>
                  <a:pt x="2645" y="1145"/>
                </a:lnTo>
                <a:lnTo>
                  <a:pt x="2643" y="1143"/>
                </a:lnTo>
                <a:lnTo>
                  <a:pt x="2641" y="1139"/>
                </a:lnTo>
                <a:lnTo>
                  <a:pt x="2640" y="1135"/>
                </a:lnTo>
                <a:lnTo>
                  <a:pt x="2639" y="1134"/>
                </a:lnTo>
                <a:lnTo>
                  <a:pt x="2637" y="1132"/>
                </a:lnTo>
                <a:lnTo>
                  <a:pt x="2636" y="1130"/>
                </a:lnTo>
                <a:lnTo>
                  <a:pt x="2635" y="1129"/>
                </a:lnTo>
                <a:lnTo>
                  <a:pt x="2630" y="1124"/>
                </a:lnTo>
                <a:lnTo>
                  <a:pt x="2627" y="1119"/>
                </a:lnTo>
                <a:lnTo>
                  <a:pt x="2622" y="1116"/>
                </a:lnTo>
                <a:lnTo>
                  <a:pt x="2616" y="1112"/>
                </a:lnTo>
                <a:lnTo>
                  <a:pt x="2610" y="1108"/>
                </a:lnTo>
                <a:lnTo>
                  <a:pt x="2604" y="1106"/>
                </a:lnTo>
                <a:lnTo>
                  <a:pt x="2595" y="1105"/>
                </a:lnTo>
                <a:lnTo>
                  <a:pt x="2591" y="1105"/>
                </a:lnTo>
                <a:lnTo>
                  <a:pt x="2587" y="1105"/>
                </a:lnTo>
                <a:close/>
                <a:moveTo>
                  <a:pt x="1495" y="1105"/>
                </a:moveTo>
                <a:lnTo>
                  <a:pt x="1490" y="1105"/>
                </a:lnTo>
                <a:lnTo>
                  <a:pt x="1479" y="1110"/>
                </a:lnTo>
                <a:lnTo>
                  <a:pt x="1477" y="1111"/>
                </a:lnTo>
                <a:lnTo>
                  <a:pt x="1476" y="1113"/>
                </a:lnTo>
                <a:lnTo>
                  <a:pt x="1473" y="1116"/>
                </a:lnTo>
                <a:lnTo>
                  <a:pt x="1470" y="1118"/>
                </a:lnTo>
                <a:lnTo>
                  <a:pt x="1469" y="1119"/>
                </a:lnTo>
                <a:lnTo>
                  <a:pt x="1466" y="1122"/>
                </a:lnTo>
                <a:lnTo>
                  <a:pt x="1464" y="1124"/>
                </a:lnTo>
                <a:lnTo>
                  <a:pt x="1463" y="1125"/>
                </a:lnTo>
                <a:lnTo>
                  <a:pt x="1461" y="1129"/>
                </a:lnTo>
                <a:lnTo>
                  <a:pt x="1460" y="1134"/>
                </a:lnTo>
                <a:lnTo>
                  <a:pt x="1459" y="1135"/>
                </a:lnTo>
                <a:lnTo>
                  <a:pt x="1456" y="1143"/>
                </a:lnTo>
                <a:lnTo>
                  <a:pt x="1455" y="1147"/>
                </a:lnTo>
                <a:lnTo>
                  <a:pt x="1455" y="1152"/>
                </a:lnTo>
                <a:lnTo>
                  <a:pt x="1454" y="1163"/>
                </a:lnTo>
                <a:lnTo>
                  <a:pt x="1454" y="1169"/>
                </a:lnTo>
                <a:lnTo>
                  <a:pt x="1454" y="1173"/>
                </a:lnTo>
                <a:lnTo>
                  <a:pt x="1454" y="1175"/>
                </a:lnTo>
                <a:lnTo>
                  <a:pt x="1454" y="1180"/>
                </a:lnTo>
                <a:lnTo>
                  <a:pt x="1455" y="1185"/>
                </a:lnTo>
                <a:lnTo>
                  <a:pt x="1455" y="1188"/>
                </a:lnTo>
                <a:lnTo>
                  <a:pt x="1456" y="1191"/>
                </a:lnTo>
                <a:lnTo>
                  <a:pt x="1458" y="1196"/>
                </a:lnTo>
                <a:lnTo>
                  <a:pt x="1459" y="1201"/>
                </a:lnTo>
                <a:lnTo>
                  <a:pt x="1459" y="1202"/>
                </a:lnTo>
                <a:lnTo>
                  <a:pt x="1460" y="1205"/>
                </a:lnTo>
                <a:lnTo>
                  <a:pt x="1460" y="1206"/>
                </a:lnTo>
                <a:lnTo>
                  <a:pt x="1461" y="1210"/>
                </a:lnTo>
                <a:lnTo>
                  <a:pt x="1463" y="1212"/>
                </a:lnTo>
                <a:lnTo>
                  <a:pt x="1464" y="1215"/>
                </a:lnTo>
                <a:lnTo>
                  <a:pt x="1464" y="1217"/>
                </a:lnTo>
                <a:lnTo>
                  <a:pt x="1465" y="1219"/>
                </a:lnTo>
                <a:lnTo>
                  <a:pt x="1466" y="1221"/>
                </a:lnTo>
                <a:lnTo>
                  <a:pt x="1469" y="1225"/>
                </a:lnTo>
                <a:lnTo>
                  <a:pt x="1470" y="1227"/>
                </a:lnTo>
                <a:lnTo>
                  <a:pt x="1471" y="1229"/>
                </a:lnTo>
                <a:lnTo>
                  <a:pt x="1472" y="1230"/>
                </a:lnTo>
                <a:lnTo>
                  <a:pt x="1475" y="1232"/>
                </a:lnTo>
                <a:lnTo>
                  <a:pt x="1477" y="1235"/>
                </a:lnTo>
                <a:lnTo>
                  <a:pt x="1478" y="1236"/>
                </a:lnTo>
                <a:lnTo>
                  <a:pt x="1479" y="1239"/>
                </a:lnTo>
                <a:lnTo>
                  <a:pt x="1483" y="1243"/>
                </a:lnTo>
                <a:lnTo>
                  <a:pt x="1485" y="1244"/>
                </a:lnTo>
                <a:lnTo>
                  <a:pt x="1487" y="1245"/>
                </a:lnTo>
                <a:lnTo>
                  <a:pt x="1489" y="1246"/>
                </a:lnTo>
                <a:lnTo>
                  <a:pt x="1490" y="1246"/>
                </a:lnTo>
                <a:lnTo>
                  <a:pt x="1493" y="1247"/>
                </a:lnTo>
                <a:lnTo>
                  <a:pt x="1495" y="1249"/>
                </a:lnTo>
                <a:lnTo>
                  <a:pt x="1498" y="1249"/>
                </a:lnTo>
                <a:lnTo>
                  <a:pt x="1500" y="1249"/>
                </a:lnTo>
                <a:lnTo>
                  <a:pt x="1505" y="1250"/>
                </a:lnTo>
                <a:lnTo>
                  <a:pt x="1507" y="1250"/>
                </a:lnTo>
                <a:lnTo>
                  <a:pt x="1510" y="1250"/>
                </a:lnTo>
                <a:lnTo>
                  <a:pt x="1517" y="1249"/>
                </a:lnTo>
                <a:lnTo>
                  <a:pt x="1519" y="1249"/>
                </a:lnTo>
                <a:lnTo>
                  <a:pt x="1521" y="1249"/>
                </a:lnTo>
                <a:lnTo>
                  <a:pt x="1522" y="1247"/>
                </a:lnTo>
                <a:lnTo>
                  <a:pt x="1524" y="1246"/>
                </a:lnTo>
                <a:lnTo>
                  <a:pt x="1527" y="1245"/>
                </a:lnTo>
                <a:lnTo>
                  <a:pt x="1528" y="1244"/>
                </a:lnTo>
                <a:lnTo>
                  <a:pt x="1530" y="1241"/>
                </a:lnTo>
                <a:lnTo>
                  <a:pt x="1534" y="1239"/>
                </a:lnTo>
                <a:lnTo>
                  <a:pt x="1537" y="1235"/>
                </a:lnTo>
                <a:lnTo>
                  <a:pt x="1539" y="1234"/>
                </a:lnTo>
                <a:lnTo>
                  <a:pt x="1540" y="1232"/>
                </a:lnTo>
                <a:lnTo>
                  <a:pt x="1541" y="1230"/>
                </a:lnTo>
                <a:lnTo>
                  <a:pt x="1542" y="1227"/>
                </a:lnTo>
                <a:lnTo>
                  <a:pt x="1545" y="1222"/>
                </a:lnTo>
                <a:lnTo>
                  <a:pt x="1546" y="1219"/>
                </a:lnTo>
                <a:lnTo>
                  <a:pt x="1547" y="1215"/>
                </a:lnTo>
                <a:lnTo>
                  <a:pt x="1548" y="1213"/>
                </a:lnTo>
                <a:lnTo>
                  <a:pt x="1548" y="1207"/>
                </a:lnTo>
                <a:lnTo>
                  <a:pt x="1550" y="1201"/>
                </a:lnTo>
                <a:lnTo>
                  <a:pt x="1551" y="1194"/>
                </a:lnTo>
                <a:lnTo>
                  <a:pt x="1551" y="1185"/>
                </a:lnTo>
                <a:lnTo>
                  <a:pt x="1551" y="1182"/>
                </a:lnTo>
                <a:lnTo>
                  <a:pt x="1550" y="1178"/>
                </a:lnTo>
                <a:lnTo>
                  <a:pt x="1550" y="1172"/>
                </a:lnTo>
                <a:lnTo>
                  <a:pt x="1550" y="1167"/>
                </a:lnTo>
                <a:lnTo>
                  <a:pt x="1548" y="1163"/>
                </a:lnTo>
                <a:lnTo>
                  <a:pt x="1548" y="1161"/>
                </a:lnTo>
                <a:lnTo>
                  <a:pt x="1547" y="1155"/>
                </a:lnTo>
                <a:lnTo>
                  <a:pt x="1547" y="1152"/>
                </a:lnTo>
                <a:lnTo>
                  <a:pt x="1546" y="1151"/>
                </a:lnTo>
                <a:lnTo>
                  <a:pt x="1546" y="1149"/>
                </a:lnTo>
                <a:lnTo>
                  <a:pt x="1545" y="1147"/>
                </a:lnTo>
                <a:lnTo>
                  <a:pt x="1545" y="1146"/>
                </a:lnTo>
                <a:lnTo>
                  <a:pt x="1544" y="1143"/>
                </a:lnTo>
                <a:lnTo>
                  <a:pt x="1542" y="1140"/>
                </a:lnTo>
                <a:lnTo>
                  <a:pt x="1541" y="1138"/>
                </a:lnTo>
                <a:lnTo>
                  <a:pt x="1540" y="1135"/>
                </a:lnTo>
                <a:lnTo>
                  <a:pt x="1539" y="1134"/>
                </a:lnTo>
                <a:lnTo>
                  <a:pt x="1537" y="1130"/>
                </a:lnTo>
                <a:lnTo>
                  <a:pt x="1536" y="1129"/>
                </a:lnTo>
                <a:lnTo>
                  <a:pt x="1535" y="1127"/>
                </a:lnTo>
                <a:lnTo>
                  <a:pt x="1534" y="1125"/>
                </a:lnTo>
                <a:lnTo>
                  <a:pt x="1533" y="1124"/>
                </a:lnTo>
                <a:lnTo>
                  <a:pt x="1529" y="1121"/>
                </a:lnTo>
                <a:lnTo>
                  <a:pt x="1525" y="1117"/>
                </a:lnTo>
                <a:lnTo>
                  <a:pt x="1522" y="1113"/>
                </a:lnTo>
                <a:lnTo>
                  <a:pt x="1517" y="1111"/>
                </a:lnTo>
                <a:lnTo>
                  <a:pt x="1512" y="1108"/>
                </a:lnTo>
                <a:lnTo>
                  <a:pt x="1507" y="1106"/>
                </a:lnTo>
                <a:lnTo>
                  <a:pt x="1501" y="1105"/>
                </a:lnTo>
                <a:lnTo>
                  <a:pt x="1495" y="1105"/>
                </a:lnTo>
                <a:close/>
                <a:moveTo>
                  <a:pt x="1773" y="1477"/>
                </a:moveTo>
                <a:lnTo>
                  <a:pt x="1724" y="1477"/>
                </a:lnTo>
                <a:lnTo>
                  <a:pt x="1719" y="1477"/>
                </a:lnTo>
                <a:lnTo>
                  <a:pt x="1713" y="1477"/>
                </a:lnTo>
                <a:lnTo>
                  <a:pt x="1710" y="1476"/>
                </a:lnTo>
                <a:lnTo>
                  <a:pt x="1709" y="1474"/>
                </a:lnTo>
                <a:lnTo>
                  <a:pt x="1707" y="1473"/>
                </a:lnTo>
                <a:lnTo>
                  <a:pt x="1707" y="1471"/>
                </a:lnTo>
                <a:lnTo>
                  <a:pt x="1705" y="1467"/>
                </a:lnTo>
                <a:lnTo>
                  <a:pt x="1705" y="1463"/>
                </a:lnTo>
                <a:lnTo>
                  <a:pt x="1707" y="1459"/>
                </a:lnTo>
                <a:lnTo>
                  <a:pt x="1709" y="1456"/>
                </a:lnTo>
                <a:lnTo>
                  <a:pt x="1713" y="1455"/>
                </a:lnTo>
                <a:lnTo>
                  <a:pt x="1715" y="1454"/>
                </a:lnTo>
                <a:lnTo>
                  <a:pt x="1732" y="1450"/>
                </a:lnTo>
                <a:lnTo>
                  <a:pt x="1737" y="1449"/>
                </a:lnTo>
                <a:lnTo>
                  <a:pt x="1741" y="1446"/>
                </a:lnTo>
                <a:lnTo>
                  <a:pt x="1743" y="1444"/>
                </a:lnTo>
                <a:lnTo>
                  <a:pt x="1745" y="1443"/>
                </a:lnTo>
                <a:lnTo>
                  <a:pt x="1747" y="1440"/>
                </a:lnTo>
                <a:lnTo>
                  <a:pt x="1748" y="1439"/>
                </a:lnTo>
                <a:lnTo>
                  <a:pt x="1749" y="1437"/>
                </a:lnTo>
                <a:lnTo>
                  <a:pt x="1750" y="1433"/>
                </a:lnTo>
                <a:lnTo>
                  <a:pt x="1750" y="1431"/>
                </a:lnTo>
                <a:lnTo>
                  <a:pt x="1751" y="1429"/>
                </a:lnTo>
                <a:lnTo>
                  <a:pt x="1751" y="1427"/>
                </a:lnTo>
                <a:lnTo>
                  <a:pt x="1751" y="1426"/>
                </a:lnTo>
                <a:lnTo>
                  <a:pt x="1753" y="1424"/>
                </a:lnTo>
                <a:lnTo>
                  <a:pt x="1754" y="1421"/>
                </a:lnTo>
                <a:lnTo>
                  <a:pt x="1766" y="1388"/>
                </a:lnTo>
                <a:lnTo>
                  <a:pt x="1766" y="1384"/>
                </a:lnTo>
                <a:lnTo>
                  <a:pt x="1766" y="1383"/>
                </a:lnTo>
                <a:lnTo>
                  <a:pt x="1767" y="1380"/>
                </a:lnTo>
                <a:lnTo>
                  <a:pt x="1767" y="1379"/>
                </a:lnTo>
                <a:lnTo>
                  <a:pt x="1768" y="1378"/>
                </a:lnTo>
                <a:lnTo>
                  <a:pt x="1768" y="1376"/>
                </a:lnTo>
                <a:lnTo>
                  <a:pt x="1770" y="1374"/>
                </a:lnTo>
                <a:lnTo>
                  <a:pt x="1771" y="1370"/>
                </a:lnTo>
                <a:lnTo>
                  <a:pt x="1772" y="1367"/>
                </a:lnTo>
                <a:lnTo>
                  <a:pt x="1772" y="1366"/>
                </a:lnTo>
                <a:lnTo>
                  <a:pt x="1773" y="1365"/>
                </a:lnTo>
                <a:lnTo>
                  <a:pt x="1773" y="1362"/>
                </a:lnTo>
                <a:lnTo>
                  <a:pt x="1774" y="1361"/>
                </a:lnTo>
                <a:lnTo>
                  <a:pt x="1776" y="1357"/>
                </a:lnTo>
                <a:lnTo>
                  <a:pt x="1776" y="1355"/>
                </a:lnTo>
                <a:lnTo>
                  <a:pt x="1777" y="1354"/>
                </a:lnTo>
                <a:lnTo>
                  <a:pt x="1777" y="1351"/>
                </a:lnTo>
                <a:lnTo>
                  <a:pt x="1778" y="1350"/>
                </a:lnTo>
                <a:lnTo>
                  <a:pt x="1777" y="1344"/>
                </a:lnTo>
                <a:lnTo>
                  <a:pt x="1776" y="1343"/>
                </a:lnTo>
                <a:lnTo>
                  <a:pt x="1774" y="1339"/>
                </a:lnTo>
                <a:lnTo>
                  <a:pt x="1773" y="1335"/>
                </a:lnTo>
                <a:lnTo>
                  <a:pt x="1772" y="1332"/>
                </a:lnTo>
                <a:lnTo>
                  <a:pt x="1772" y="1330"/>
                </a:lnTo>
                <a:lnTo>
                  <a:pt x="1771" y="1328"/>
                </a:lnTo>
                <a:lnTo>
                  <a:pt x="1771" y="1327"/>
                </a:lnTo>
                <a:lnTo>
                  <a:pt x="1770" y="1324"/>
                </a:lnTo>
                <a:lnTo>
                  <a:pt x="1770" y="1323"/>
                </a:lnTo>
                <a:lnTo>
                  <a:pt x="1768" y="1319"/>
                </a:lnTo>
                <a:lnTo>
                  <a:pt x="1767" y="1318"/>
                </a:lnTo>
                <a:lnTo>
                  <a:pt x="1767" y="1316"/>
                </a:lnTo>
                <a:lnTo>
                  <a:pt x="1766" y="1315"/>
                </a:lnTo>
                <a:lnTo>
                  <a:pt x="1766" y="1312"/>
                </a:lnTo>
                <a:lnTo>
                  <a:pt x="1766" y="1311"/>
                </a:lnTo>
                <a:lnTo>
                  <a:pt x="1765" y="1308"/>
                </a:lnTo>
                <a:lnTo>
                  <a:pt x="1765" y="1307"/>
                </a:lnTo>
                <a:lnTo>
                  <a:pt x="1763" y="1305"/>
                </a:lnTo>
                <a:lnTo>
                  <a:pt x="1763" y="1304"/>
                </a:lnTo>
                <a:lnTo>
                  <a:pt x="1762" y="1301"/>
                </a:lnTo>
                <a:lnTo>
                  <a:pt x="1756" y="1285"/>
                </a:lnTo>
                <a:lnTo>
                  <a:pt x="1751" y="1268"/>
                </a:lnTo>
                <a:lnTo>
                  <a:pt x="1750" y="1263"/>
                </a:lnTo>
                <a:lnTo>
                  <a:pt x="1749" y="1261"/>
                </a:lnTo>
                <a:lnTo>
                  <a:pt x="1749" y="1260"/>
                </a:lnTo>
                <a:lnTo>
                  <a:pt x="1748" y="1257"/>
                </a:lnTo>
                <a:lnTo>
                  <a:pt x="1748" y="1256"/>
                </a:lnTo>
                <a:lnTo>
                  <a:pt x="1747" y="1254"/>
                </a:lnTo>
                <a:lnTo>
                  <a:pt x="1745" y="1250"/>
                </a:lnTo>
                <a:lnTo>
                  <a:pt x="1744" y="1247"/>
                </a:lnTo>
                <a:lnTo>
                  <a:pt x="1743" y="1244"/>
                </a:lnTo>
                <a:lnTo>
                  <a:pt x="1737" y="1225"/>
                </a:lnTo>
                <a:lnTo>
                  <a:pt x="1736" y="1221"/>
                </a:lnTo>
                <a:lnTo>
                  <a:pt x="1731" y="1207"/>
                </a:lnTo>
                <a:lnTo>
                  <a:pt x="1727" y="1194"/>
                </a:lnTo>
                <a:lnTo>
                  <a:pt x="1722" y="1180"/>
                </a:lnTo>
                <a:lnTo>
                  <a:pt x="1718" y="1168"/>
                </a:lnTo>
                <a:lnTo>
                  <a:pt x="1718" y="1166"/>
                </a:lnTo>
                <a:lnTo>
                  <a:pt x="1718" y="1164"/>
                </a:lnTo>
                <a:lnTo>
                  <a:pt x="1716" y="1162"/>
                </a:lnTo>
                <a:lnTo>
                  <a:pt x="1716" y="1161"/>
                </a:lnTo>
                <a:lnTo>
                  <a:pt x="1715" y="1160"/>
                </a:lnTo>
                <a:lnTo>
                  <a:pt x="1715" y="1157"/>
                </a:lnTo>
                <a:lnTo>
                  <a:pt x="1714" y="1153"/>
                </a:lnTo>
                <a:lnTo>
                  <a:pt x="1713" y="1152"/>
                </a:lnTo>
                <a:lnTo>
                  <a:pt x="1713" y="1150"/>
                </a:lnTo>
                <a:lnTo>
                  <a:pt x="1712" y="1149"/>
                </a:lnTo>
                <a:lnTo>
                  <a:pt x="1712" y="1146"/>
                </a:lnTo>
                <a:lnTo>
                  <a:pt x="1704" y="1125"/>
                </a:lnTo>
                <a:lnTo>
                  <a:pt x="1704" y="1124"/>
                </a:lnTo>
                <a:lnTo>
                  <a:pt x="1703" y="1122"/>
                </a:lnTo>
                <a:lnTo>
                  <a:pt x="1703" y="1121"/>
                </a:lnTo>
                <a:lnTo>
                  <a:pt x="1702" y="1118"/>
                </a:lnTo>
                <a:lnTo>
                  <a:pt x="1701" y="1116"/>
                </a:lnTo>
                <a:lnTo>
                  <a:pt x="1698" y="1113"/>
                </a:lnTo>
                <a:lnTo>
                  <a:pt x="1697" y="1111"/>
                </a:lnTo>
                <a:lnTo>
                  <a:pt x="1695" y="1110"/>
                </a:lnTo>
                <a:lnTo>
                  <a:pt x="1687" y="1107"/>
                </a:lnTo>
                <a:lnTo>
                  <a:pt x="1684" y="1106"/>
                </a:lnTo>
                <a:lnTo>
                  <a:pt x="1676" y="1103"/>
                </a:lnTo>
                <a:lnTo>
                  <a:pt x="1670" y="1101"/>
                </a:lnTo>
                <a:lnTo>
                  <a:pt x="1667" y="1099"/>
                </a:lnTo>
                <a:lnTo>
                  <a:pt x="1664" y="1097"/>
                </a:lnTo>
                <a:lnTo>
                  <a:pt x="1662" y="1095"/>
                </a:lnTo>
                <a:lnTo>
                  <a:pt x="1661" y="1092"/>
                </a:lnTo>
                <a:lnTo>
                  <a:pt x="1660" y="1089"/>
                </a:lnTo>
                <a:lnTo>
                  <a:pt x="1660" y="1084"/>
                </a:lnTo>
                <a:lnTo>
                  <a:pt x="1661" y="1083"/>
                </a:lnTo>
                <a:lnTo>
                  <a:pt x="1661" y="1081"/>
                </a:lnTo>
                <a:lnTo>
                  <a:pt x="1664" y="1079"/>
                </a:lnTo>
                <a:lnTo>
                  <a:pt x="1667" y="1078"/>
                </a:lnTo>
                <a:lnTo>
                  <a:pt x="1672" y="1077"/>
                </a:lnTo>
                <a:lnTo>
                  <a:pt x="1702" y="1075"/>
                </a:lnTo>
                <a:lnTo>
                  <a:pt x="1767" y="1075"/>
                </a:lnTo>
                <a:lnTo>
                  <a:pt x="1771" y="1077"/>
                </a:lnTo>
                <a:lnTo>
                  <a:pt x="1773" y="1078"/>
                </a:lnTo>
                <a:lnTo>
                  <a:pt x="1776" y="1078"/>
                </a:lnTo>
                <a:lnTo>
                  <a:pt x="1778" y="1081"/>
                </a:lnTo>
                <a:lnTo>
                  <a:pt x="1779" y="1083"/>
                </a:lnTo>
                <a:lnTo>
                  <a:pt x="1780" y="1090"/>
                </a:lnTo>
                <a:lnTo>
                  <a:pt x="1779" y="1091"/>
                </a:lnTo>
                <a:lnTo>
                  <a:pt x="1779" y="1092"/>
                </a:lnTo>
                <a:lnTo>
                  <a:pt x="1774" y="1097"/>
                </a:lnTo>
                <a:lnTo>
                  <a:pt x="1772" y="1097"/>
                </a:lnTo>
                <a:lnTo>
                  <a:pt x="1766" y="1101"/>
                </a:lnTo>
                <a:lnTo>
                  <a:pt x="1765" y="1102"/>
                </a:lnTo>
                <a:lnTo>
                  <a:pt x="1762" y="1102"/>
                </a:lnTo>
                <a:lnTo>
                  <a:pt x="1759" y="1103"/>
                </a:lnTo>
                <a:lnTo>
                  <a:pt x="1756" y="1105"/>
                </a:lnTo>
                <a:lnTo>
                  <a:pt x="1754" y="1106"/>
                </a:lnTo>
                <a:lnTo>
                  <a:pt x="1751" y="1107"/>
                </a:lnTo>
                <a:lnTo>
                  <a:pt x="1743" y="1111"/>
                </a:lnTo>
                <a:lnTo>
                  <a:pt x="1743" y="1113"/>
                </a:lnTo>
                <a:lnTo>
                  <a:pt x="1745" y="1119"/>
                </a:lnTo>
                <a:lnTo>
                  <a:pt x="1745" y="1121"/>
                </a:lnTo>
                <a:lnTo>
                  <a:pt x="1747" y="1123"/>
                </a:lnTo>
                <a:lnTo>
                  <a:pt x="1747" y="1125"/>
                </a:lnTo>
                <a:lnTo>
                  <a:pt x="1748" y="1128"/>
                </a:lnTo>
                <a:lnTo>
                  <a:pt x="1749" y="1132"/>
                </a:lnTo>
                <a:lnTo>
                  <a:pt x="1749" y="1133"/>
                </a:lnTo>
                <a:lnTo>
                  <a:pt x="1750" y="1134"/>
                </a:lnTo>
                <a:lnTo>
                  <a:pt x="1750" y="1136"/>
                </a:lnTo>
                <a:lnTo>
                  <a:pt x="1751" y="1138"/>
                </a:lnTo>
                <a:lnTo>
                  <a:pt x="1751" y="1140"/>
                </a:lnTo>
                <a:lnTo>
                  <a:pt x="1754" y="1147"/>
                </a:lnTo>
                <a:lnTo>
                  <a:pt x="1755" y="1151"/>
                </a:lnTo>
                <a:lnTo>
                  <a:pt x="1756" y="1155"/>
                </a:lnTo>
                <a:lnTo>
                  <a:pt x="1767" y="1189"/>
                </a:lnTo>
                <a:lnTo>
                  <a:pt x="1772" y="1206"/>
                </a:lnTo>
                <a:lnTo>
                  <a:pt x="1778" y="1222"/>
                </a:lnTo>
                <a:lnTo>
                  <a:pt x="1779" y="1227"/>
                </a:lnTo>
                <a:lnTo>
                  <a:pt x="1782" y="1234"/>
                </a:lnTo>
                <a:lnTo>
                  <a:pt x="1784" y="1243"/>
                </a:lnTo>
                <a:lnTo>
                  <a:pt x="1786" y="1251"/>
                </a:lnTo>
                <a:lnTo>
                  <a:pt x="1790" y="1260"/>
                </a:lnTo>
                <a:lnTo>
                  <a:pt x="1791" y="1265"/>
                </a:lnTo>
                <a:lnTo>
                  <a:pt x="1791" y="1267"/>
                </a:lnTo>
                <a:lnTo>
                  <a:pt x="1793" y="1268"/>
                </a:lnTo>
                <a:lnTo>
                  <a:pt x="1793" y="1271"/>
                </a:lnTo>
                <a:lnTo>
                  <a:pt x="1794" y="1272"/>
                </a:lnTo>
                <a:lnTo>
                  <a:pt x="1794" y="1274"/>
                </a:lnTo>
                <a:lnTo>
                  <a:pt x="1795" y="1278"/>
                </a:lnTo>
                <a:lnTo>
                  <a:pt x="1796" y="1285"/>
                </a:lnTo>
                <a:lnTo>
                  <a:pt x="1797" y="1288"/>
                </a:lnTo>
                <a:lnTo>
                  <a:pt x="1799" y="1296"/>
                </a:lnTo>
                <a:lnTo>
                  <a:pt x="1801" y="1289"/>
                </a:lnTo>
                <a:lnTo>
                  <a:pt x="1802" y="1283"/>
                </a:lnTo>
                <a:lnTo>
                  <a:pt x="1803" y="1278"/>
                </a:lnTo>
                <a:lnTo>
                  <a:pt x="1803" y="1277"/>
                </a:lnTo>
                <a:lnTo>
                  <a:pt x="1805" y="1274"/>
                </a:lnTo>
                <a:lnTo>
                  <a:pt x="1805" y="1273"/>
                </a:lnTo>
                <a:lnTo>
                  <a:pt x="1806" y="1271"/>
                </a:lnTo>
                <a:lnTo>
                  <a:pt x="1806" y="1269"/>
                </a:lnTo>
                <a:lnTo>
                  <a:pt x="1807" y="1267"/>
                </a:lnTo>
                <a:lnTo>
                  <a:pt x="1807" y="1265"/>
                </a:lnTo>
                <a:lnTo>
                  <a:pt x="1808" y="1263"/>
                </a:lnTo>
                <a:lnTo>
                  <a:pt x="1808" y="1262"/>
                </a:lnTo>
                <a:lnTo>
                  <a:pt x="1809" y="1260"/>
                </a:lnTo>
                <a:lnTo>
                  <a:pt x="1809" y="1258"/>
                </a:lnTo>
                <a:lnTo>
                  <a:pt x="1809" y="1256"/>
                </a:lnTo>
                <a:lnTo>
                  <a:pt x="1811" y="1254"/>
                </a:lnTo>
                <a:lnTo>
                  <a:pt x="1811" y="1252"/>
                </a:lnTo>
                <a:lnTo>
                  <a:pt x="1812" y="1250"/>
                </a:lnTo>
                <a:lnTo>
                  <a:pt x="1812" y="1249"/>
                </a:lnTo>
                <a:lnTo>
                  <a:pt x="1813" y="1246"/>
                </a:lnTo>
                <a:lnTo>
                  <a:pt x="1813" y="1245"/>
                </a:lnTo>
                <a:lnTo>
                  <a:pt x="1814" y="1243"/>
                </a:lnTo>
                <a:lnTo>
                  <a:pt x="1814" y="1241"/>
                </a:lnTo>
                <a:lnTo>
                  <a:pt x="1815" y="1239"/>
                </a:lnTo>
                <a:lnTo>
                  <a:pt x="1815" y="1238"/>
                </a:lnTo>
                <a:lnTo>
                  <a:pt x="1817" y="1235"/>
                </a:lnTo>
                <a:lnTo>
                  <a:pt x="1822" y="1221"/>
                </a:lnTo>
                <a:lnTo>
                  <a:pt x="1826" y="1205"/>
                </a:lnTo>
                <a:lnTo>
                  <a:pt x="1831" y="1189"/>
                </a:lnTo>
                <a:lnTo>
                  <a:pt x="1836" y="1174"/>
                </a:lnTo>
                <a:lnTo>
                  <a:pt x="1836" y="1172"/>
                </a:lnTo>
                <a:lnTo>
                  <a:pt x="1837" y="1171"/>
                </a:lnTo>
                <a:lnTo>
                  <a:pt x="1837" y="1168"/>
                </a:lnTo>
                <a:lnTo>
                  <a:pt x="1838" y="1167"/>
                </a:lnTo>
                <a:lnTo>
                  <a:pt x="1838" y="1164"/>
                </a:lnTo>
                <a:lnTo>
                  <a:pt x="1838" y="1163"/>
                </a:lnTo>
                <a:lnTo>
                  <a:pt x="1840" y="1161"/>
                </a:lnTo>
                <a:lnTo>
                  <a:pt x="1840" y="1160"/>
                </a:lnTo>
                <a:lnTo>
                  <a:pt x="1841" y="1157"/>
                </a:lnTo>
                <a:lnTo>
                  <a:pt x="1841" y="1156"/>
                </a:lnTo>
                <a:lnTo>
                  <a:pt x="1842" y="1153"/>
                </a:lnTo>
                <a:lnTo>
                  <a:pt x="1842" y="1151"/>
                </a:lnTo>
                <a:lnTo>
                  <a:pt x="1843" y="1150"/>
                </a:lnTo>
                <a:lnTo>
                  <a:pt x="1843" y="1147"/>
                </a:lnTo>
                <a:lnTo>
                  <a:pt x="1844" y="1146"/>
                </a:lnTo>
                <a:lnTo>
                  <a:pt x="1844" y="1145"/>
                </a:lnTo>
                <a:lnTo>
                  <a:pt x="1846" y="1143"/>
                </a:lnTo>
                <a:lnTo>
                  <a:pt x="1848" y="1135"/>
                </a:lnTo>
                <a:lnTo>
                  <a:pt x="1848" y="1133"/>
                </a:lnTo>
                <a:lnTo>
                  <a:pt x="1849" y="1132"/>
                </a:lnTo>
                <a:lnTo>
                  <a:pt x="1849" y="1130"/>
                </a:lnTo>
                <a:lnTo>
                  <a:pt x="1851" y="1125"/>
                </a:lnTo>
                <a:lnTo>
                  <a:pt x="1852" y="1121"/>
                </a:lnTo>
                <a:lnTo>
                  <a:pt x="1853" y="1117"/>
                </a:lnTo>
                <a:lnTo>
                  <a:pt x="1853" y="1113"/>
                </a:lnTo>
                <a:lnTo>
                  <a:pt x="1851" y="1111"/>
                </a:lnTo>
                <a:lnTo>
                  <a:pt x="1844" y="1110"/>
                </a:lnTo>
                <a:lnTo>
                  <a:pt x="1838" y="1107"/>
                </a:lnTo>
                <a:lnTo>
                  <a:pt x="1834" y="1106"/>
                </a:lnTo>
                <a:lnTo>
                  <a:pt x="1832" y="1105"/>
                </a:lnTo>
                <a:lnTo>
                  <a:pt x="1829" y="1103"/>
                </a:lnTo>
                <a:lnTo>
                  <a:pt x="1825" y="1102"/>
                </a:lnTo>
                <a:lnTo>
                  <a:pt x="1824" y="1102"/>
                </a:lnTo>
                <a:lnTo>
                  <a:pt x="1822" y="1101"/>
                </a:lnTo>
                <a:lnTo>
                  <a:pt x="1818" y="1100"/>
                </a:lnTo>
                <a:lnTo>
                  <a:pt x="1815" y="1096"/>
                </a:lnTo>
                <a:lnTo>
                  <a:pt x="1814" y="1095"/>
                </a:lnTo>
                <a:lnTo>
                  <a:pt x="1813" y="1091"/>
                </a:lnTo>
                <a:lnTo>
                  <a:pt x="1812" y="1090"/>
                </a:lnTo>
                <a:lnTo>
                  <a:pt x="1812" y="1089"/>
                </a:lnTo>
                <a:lnTo>
                  <a:pt x="1813" y="1086"/>
                </a:lnTo>
                <a:lnTo>
                  <a:pt x="1814" y="1081"/>
                </a:lnTo>
                <a:lnTo>
                  <a:pt x="1817" y="1080"/>
                </a:lnTo>
                <a:lnTo>
                  <a:pt x="1818" y="1078"/>
                </a:lnTo>
                <a:lnTo>
                  <a:pt x="1820" y="1078"/>
                </a:lnTo>
                <a:lnTo>
                  <a:pt x="1823" y="1077"/>
                </a:lnTo>
                <a:lnTo>
                  <a:pt x="1825" y="1077"/>
                </a:lnTo>
                <a:lnTo>
                  <a:pt x="1831" y="1075"/>
                </a:lnTo>
                <a:lnTo>
                  <a:pt x="1836" y="1075"/>
                </a:lnTo>
                <a:lnTo>
                  <a:pt x="1848" y="1075"/>
                </a:lnTo>
                <a:lnTo>
                  <a:pt x="1902" y="1075"/>
                </a:lnTo>
                <a:lnTo>
                  <a:pt x="1911" y="1075"/>
                </a:lnTo>
                <a:lnTo>
                  <a:pt x="1921" y="1075"/>
                </a:lnTo>
                <a:lnTo>
                  <a:pt x="1924" y="1077"/>
                </a:lnTo>
                <a:lnTo>
                  <a:pt x="1928" y="1078"/>
                </a:lnTo>
                <a:lnTo>
                  <a:pt x="1929" y="1078"/>
                </a:lnTo>
                <a:lnTo>
                  <a:pt x="1930" y="1079"/>
                </a:lnTo>
                <a:lnTo>
                  <a:pt x="1932" y="1081"/>
                </a:lnTo>
                <a:lnTo>
                  <a:pt x="1933" y="1083"/>
                </a:lnTo>
                <a:lnTo>
                  <a:pt x="1933" y="1085"/>
                </a:lnTo>
                <a:lnTo>
                  <a:pt x="1934" y="1088"/>
                </a:lnTo>
                <a:lnTo>
                  <a:pt x="1934" y="1090"/>
                </a:lnTo>
                <a:lnTo>
                  <a:pt x="1933" y="1095"/>
                </a:lnTo>
                <a:lnTo>
                  <a:pt x="1932" y="1096"/>
                </a:lnTo>
                <a:lnTo>
                  <a:pt x="1932" y="1097"/>
                </a:lnTo>
                <a:lnTo>
                  <a:pt x="1929" y="1099"/>
                </a:lnTo>
                <a:lnTo>
                  <a:pt x="1927" y="1100"/>
                </a:lnTo>
                <a:lnTo>
                  <a:pt x="1924" y="1102"/>
                </a:lnTo>
                <a:lnTo>
                  <a:pt x="1923" y="1102"/>
                </a:lnTo>
                <a:lnTo>
                  <a:pt x="1918" y="1103"/>
                </a:lnTo>
                <a:lnTo>
                  <a:pt x="1913" y="1106"/>
                </a:lnTo>
                <a:lnTo>
                  <a:pt x="1911" y="1107"/>
                </a:lnTo>
                <a:lnTo>
                  <a:pt x="1906" y="1108"/>
                </a:lnTo>
                <a:lnTo>
                  <a:pt x="1902" y="1110"/>
                </a:lnTo>
                <a:lnTo>
                  <a:pt x="1899" y="1112"/>
                </a:lnTo>
                <a:lnTo>
                  <a:pt x="1898" y="1113"/>
                </a:lnTo>
                <a:lnTo>
                  <a:pt x="1894" y="1117"/>
                </a:lnTo>
                <a:lnTo>
                  <a:pt x="1893" y="1119"/>
                </a:lnTo>
                <a:lnTo>
                  <a:pt x="1892" y="1122"/>
                </a:lnTo>
                <a:lnTo>
                  <a:pt x="1890" y="1123"/>
                </a:lnTo>
                <a:lnTo>
                  <a:pt x="1890" y="1125"/>
                </a:lnTo>
                <a:lnTo>
                  <a:pt x="1889" y="1127"/>
                </a:lnTo>
                <a:lnTo>
                  <a:pt x="1889" y="1129"/>
                </a:lnTo>
                <a:lnTo>
                  <a:pt x="1888" y="1130"/>
                </a:lnTo>
                <a:lnTo>
                  <a:pt x="1887" y="1134"/>
                </a:lnTo>
                <a:lnTo>
                  <a:pt x="1882" y="1151"/>
                </a:lnTo>
                <a:lnTo>
                  <a:pt x="1876" y="1167"/>
                </a:lnTo>
                <a:lnTo>
                  <a:pt x="1872" y="1179"/>
                </a:lnTo>
                <a:lnTo>
                  <a:pt x="1869" y="1189"/>
                </a:lnTo>
                <a:lnTo>
                  <a:pt x="1865" y="1200"/>
                </a:lnTo>
                <a:lnTo>
                  <a:pt x="1861" y="1210"/>
                </a:lnTo>
                <a:lnTo>
                  <a:pt x="1858" y="1219"/>
                </a:lnTo>
                <a:lnTo>
                  <a:pt x="1858" y="1221"/>
                </a:lnTo>
                <a:lnTo>
                  <a:pt x="1858" y="1223"/>
                </a:lnTo>
                <a:lnTo>
                  <a:pt x="1857" y="1224"/>
                </a:lnTo>
                <a:lnTo>
                  <a:pt x="1857" y="1227"/>
                </a:lnTo>
                <a:lnTo>
                  <a:pt x="1855" y="1228"/>
                </a:lnTo>
                <a:lnTo>
                  <a:pt x="1855" y="1230"/>
                </a:lnTo>
                <a:lnTo>
                  <a:pt x="1854" y="1232"/>
                </a:lnTo>
                <a:lnTo>
                  <a:pt x="1854" y="1234"/>
                </a:lnTo>
                <a:lnTo>
                  <a:pt x="1853" y="1235"/>
                </a:lnTo>
                <a:lnTo>
                  <a:pt x="1853" y="1236"/>
                </a:lnTo>
                <a:lnTo>
                  <a:pt x="1852" y="1240"/>
                </a:lnTo>
                <a:lnTo>
                  <a:pt x="1851" y="1244"/>
                </a:lnTo>
                <a:lnTo>
                  <a:pt x="1849" y="1249"/>
                </a:lnTo>
                <a:lnTo>
                  <a:pt x="1847" y="1256"/>
                </a:lnTo>
                <a:lnTo>
                  <a:pt x="1846" y="1257"/>
                </a:lnTo>
                <a:lnTo>
                  <a:pt x="1846" y="1260"/>
                </a:lnTo>
                <a:lnTo>
                  <a:pt x="1844" y="1261"/>
                </a:lnTo>
                <a:lnTo>
                  <a:pt x="1844" y="1263"/>
                </a:lnTo>
                <a:lnTo>
                  <a:pt x="1843" y="1265"/>
                </a:lnTo>
                <a:lnTo>
                  <a:pt x="1843" y="1266"/>
                </a:lnTo>
                <a:lnTo>
                  <a:pt x="1842" y="1269"/>
                </a:lnTo>
                <a:lnTo>
                  <a:pt x="1840" y="1276"/>
                </a:lnTo>
                <a:lnTo>
                  <a:pt x="1831" y="1300"/>
                </a:lnTo>
                <a:lnTo>
                  <a:pt x="1824" y="1323"/>
                </a:lnTo>
                <a:lnTo>
                  <a:pt x="1823" y="1327"/>
                </a:lnTo>
                <a:lnTo>
                  <a:pt x="1823" y="1329"/>
                </a:lnTo>
                <a:lnTo>
                  <a:pt x="1822" y="1330"/>
                </a:lnTo>
                <a:lnTo>
                  <a:pt x="1822" y="1333"/>
                </a:lnTo>
                <a:lnTo>
                  <a:pt x="1820" y="1334"/>
                </a:lnTo>
                <a:lnTo>
                  <a:pt x="1820" y="1337"/>
                </a:lnTo>
                <a:lnTo>
                  <a:pt x="1819" y="1338"/>
                </a:lnTo>
                <a:lnTo>
                  <a:pt x="1818" y="1343"/>
                </a:lnTo>
                <a:lnTo>
                  <a:pt x="1809" y="1365"/>
                </a:lnTo>
                <a:lnTo>
                  <a:pt x="1809" y="1370"/>
                </a:lnTo>
                <a:lnTo>
                  <a:pt x="1801" y="1391"/>
                </a:lnTo>
                <a:lnTo>
                  <a:pt x="1794" y="1412"/>
                </a:lnTo>
                <a:lnTo>
                  <a:pt x="1790" y="1424"/>
                </a:lnTo>
                <a:lnTo>
                  <a:pt x="1789" y="1428"/>
                </a:lnTo>
                <a:lnTo>
                  <a:pt x="1789" y="1431"/>
                </a:lnTo>
                <a:lnTo>
                  <a:pt x="1788" y="1432"/>
                </a:lnTo>
                <a:lnTo>
                  <a:pt x="1788" y="1434"/>
                </a:lnTo>
                <a:lnTo>
                  <a:pt x="1786" y="1435"/>
                </a:lnTo>
                <a:lnTo>
                  <a:pt x="1786" y="1438"/>
                </a:lnTo>
                <a:lnTo>
                  <a:pt x="1785" y="1439"/>
                </a:lnTo>
                <a:lnTo>
                  <a:pt x="1785" y="1440"/>
                </a:lnTo>
                <a:lnTo>
                  <a:pt x="1784" y="1443"/>
                </a:lnTo>
                <a:lnTo>
                  <a:pt x="1784" y="1444"/>
                </a:lnTo>
                <a:lnTo>
                  <a:pt x="1783" y="1446"/>
                </a:lnTo>
                <a:lnTo>
                  <a:pt x="1783" y="1448"/>
                </a:lnTo>
                <a:lnTo>
                  <a:pt x="1782" y="1450"/>
                </a:lnTo>
                <a:lnTo>
                  <a:pt x="1780" y="1454"/>
                </a:lnTo>
                <a:lnTo>
                  <a:pt x="1780" y="1456"/>
                </a:lnTo>
                <a:lnTo>
                  <a:pt x="1779" y="1460"/>
                </a:lnTo>
                <a:lnTo>
                  <a:pt x="1778" y="1461"/>
                </a:lnTo>
                <a:lnTo>
                  <a:pt x="1778" y="1463"/>
                </a:lnTo>
                <a:lnTo>
                  <a:pt x="1777" y="1465"/>
                </a:lnTo>
                <a:lnTo>
                  <a:pt x="1773" y="1477"/>
                </a:lnTo>
                <a:close/>
                <a:moveTo>
                  <a:pt x="4754" y="1354"/>
                </a:moveTo>
                <a:lnTo>
                  <a:pt x="4754" y="1350"/>
                </a:lnTo>
                <a:lnTo>
                  <a:pt x="4753" y="1344"/>
                </a:lnTo>
                <a:lnTo>
                  <a:pt x="4751" y="1335"/>
                </a:lnTo>
                <a:lnTo>
                  <a:pt x="4751" y="1328"/>
                </a:lnTo>
                <a:lnTo>
                  <a:pt x="4751" y="1322"/>
                </a:lnTo>
                <a:lnTo>
                  <a:pt x="4750" y="1316"/>
                </a:lnTo>
                <a:lnTo>
                  <a:pt x="4749" y="1304"/>
                </a:lnTo>
                <a:lnTo>
                  <a:pt x="4749" y="1299"/>
                </a:lnTo>
                <a:lnTo>
                  <a:pt x="4748" y="1293"/>
                </a:lnTo>
                <a:lnTo>
                  <a:pt x="4748" y="1290"/>
                </a:lnTo>
                <a:lnTo>
                  <a:pt x="4748" y="1287"/>
                </a:lnTo>
                <a:lnTo>
                  <a:pt x="4749" y="1282"/>
                </a:lnTo>
                <a:lnTo>
                  <a:pt x="4750" y="1277"/>
                </a:lnTo>
                <a:lnTo>
                  <a:pt x="4754" y="1273"/>
                </a:lnTo>
                <a:lnTo>
                  <a:pt x="4760" y="1272"/>
                </a:lnTo>
                <a:lnTo>
                  <a:pt x="4764" y="1271"/>
                </a:lnTo>
                <a:lnTo>
                  <a:pt x="4767" y="1271"/>
                </a:lnTo>
                <a:lnTo>
                  <a:pt x="4770" y="1272"/>
                </a:lnTo>
                <a:lnTo>
                  <a:pt x="4772" y="1273"/>
                </a:lnTo>
                <a:lnTo>
                  <a:pt x="4774" y="1276"/>
                </a:lnTo>
                <a:lnTo>
                  <a:pt x="4777" y="1278"/>
                </a:lnTo>
                <a:lnTo>
                  <a:pt x="4778" y="1280"/>
                </a:lnTo>
                <a:lnTo>
                  <a:pt x="4779" y="1284"/>
                </a:lnTo>
                <a:lnTo>
                  <a:pt x="4780" y="1287"/>
                </a:lnTo>
                <a:lnTo>
                  <a:pt x="4782" y="1289"/>
                </a:lnTo>
                <a:lnTo>
                  <a:pt x="4782" y="1290"/>
                </a:lnTo>
                <a:lnTo>
                  <a:pt x="4783" y="1294"/>
                </a:lnTo>
                <a:lnTo>
                  <a:pt x="4784" y="1296"/>
                </a:lnTo>
                <a:lnTo>
                  <a:pt x="4785" y="1301"/>
                </a:lnTo>
                <a:lnTo>
                  <a:pt x="4786" y="1304"/>
                </a:lnTo>
                <a:lnTo>
                  <a:pt x="4788" y="1307"/>
                </a:lnTo>
                <a:lnTo>
                  <a:pt x="4789" y="1310"/>
                </a:lnTo>
                <a:lnTo>
                  <a:pt x="4790" y="1312"/>
                </a:lnTo>
                <a:lnTo>
                  <a:pt x="4791" y="1316"/>
                </a:lnTo>
                <a:lnTo>
                  <a:pt x="4793" y="1318"/>
                </a:lnTo>
                <a:lnTo>
                  <a:pt x="4794" y="1322"/>
                </a:lnTo>
                <a:lnTo>
                  <a:pt x="4795" y="1324"/>
                </a:lnTo>
                <a:lnTo>
                  <a:pt x="4797" y="1328"/>
                </a:lnTo>
                <a:lnTo>
                  <a:pt x="4800" y="1332"/>
                </a:lnTo>
                <a:lnTo>
                  <a:pt x="4801" y="1333"/>
                </a:lnTo>
                <a:lnTo>
                  <a:pt x="4803" y="1334"/>
                </a:lnTo>
                <a:lnTo>
                  <a:pt x="4806" y="1334"/>
                </a:lnTo>
                <a:lnTo>
                  <a:pt x="4809" y="1337"/>
                </a:lnTo>
                <a:lnTo>
                  <a:pt x="4814" y="1338"/>
                </a:lnTo>
                <a:lnTo>
                  <a:pt x="4817" y="1338"/>
                </a:lnTo>
                <a:lnTo>
                  <a:pt x="4820" y="1339"/>
                </a:lnTo>
                <a:lnTo>
                  <a:pt x="4825" y="1339"/>
                </a:lnTo>
                <a:lnTo>
                  <a:pt x="4829" y="1339"/>
                </a:lnTo>
                <a:lnTo>
                  <a:pt x="4834" y="1338"/>
                </a:lnTo>
                <a:lnTo>
                  <a:pt x="4837" y="1338"/>
                </a:lnTo>
                <a:lnTo>
                  <a:pt x="4840" y="1338"/>
                </a:lnTo>
                <a:lnTo>
                  <a:pt x="4841" y="1337"/>
                </a:lnTo>
                <a:lnTo>
                  <a:pt x="4843" y="1337"/>
                </a:lnTo>
                <a:lnTo>
                  <a:pt x="4847" y="1335"/>
                </a:lnTo>
                <a:lnTo>
                  <a:pt x="4849" y="1334"/>
                </a:lnTo>
                <a:lnTo>
                  <a:pt x="4852" y="1333"/>
                </a:lnTo>
                <a:lnTo>
                  <a:pt x="4855" y="1332"/>
                </a:lnTo>
                <a:lnTo>
                  <a:pt x="4857" y="1330"/>
                </a:lnTo>
                <a:lnTo>
                  <a:pt x="4858" y="1329"/>
                </a:lnTo>
                <a:lnTo>
                  <a:pt x="4860" y="1326"/>
                </a:lnTo>
                <a:lnTo>
                  <a:pt x="4864" y="1323"/>
                </a:lnTo>
                <a:lnTo>
                  <a:pt x="4867" y="1321"/>
                </a:lnTo>
                <a:lnTo>
                  <a:pt x="4869" y="1318"/>
                </a:lnTo>
                <a:lnTo>
                  <a:pt x="4869" y="1317"/>
                </a:lnTo>
                <a:lnTo>
                  <a:pt x="4870" y="1315"/>
                </a:lnTo>
                <a:lnTo>
                  <a:pt x="4871" y="1312"/>
                </a:lnTo>
                <a:lnTo>
                  <a:pt x="4872" y="1310"/>
                </a:lnTo>
                <a:lnTo>
                  <a:pt x="4872" y="1308"/>
                </a:lnTo>
                <a:lnTo>
                  <a:pt x="4875" y="1304"/>
                </a:lnTo>
                <a:lnTo>
                  <a:pt x="4876" y="1298"/>
                </a:lnTo>
                <a:lnTo>
                  <a:pt x="4877" y="1291"/>
                </a:lnTo>
                <a:lnTo>
                  <a:pt x="4877" y="1288"/>
                </a:lnTo>
                <a:lnTo>
                  <a:pt x="4877" y="1284"/>
                </a:lnTo>
                <a:lnTo>
                  <a:pt x="4876" y="1280"/>
                </a:lnTo>
                <a:lnTo>
                  <a:pt x="4873" y="1272"/>
                </a:lnTo>
                <a:lnTo>
                  <a:pt x="4871" y="1268"/>
                </a:lnTo>
                <a:lnTo>
                  <a:pt x="4869" y="1265"/>
                </a:lnTo>
                <a:lnTo>
                  <a:pt x="4866" y="1262"/>
                </a:lnTo>
                <a:lnTo>
                  <a:pt x="4863" y="1258"/>
                </a:lnTo>
                <a:lnTo>
                  <a:pt x="4857" y="1254"/>
                </a:lnTo>
                <a:lnTo>
                  <a:pt x="4855" y="1251"/>
                </a:lnTo>
                <a:lnTo>
                  <a:pt x="4853" y="1250"/>
                </a:lnTo>
                <a:lnTo>
                  <a:pt x="4852" y="1249"/>
                </a:lnTo>
                <a:lnTo>
                  <a:pt x="4849" y="1247"/>
                </a:lnTo>
                <a:lnTo>
                  <a:pt x="4847" y="1246"/>
                </a:lnTo>
                <a:lnTo>
                  <a:pt x="4846" y="1245"/>
                </a:lnTo>
                <a:lnTo>
                  <a:pt x="4843" y="1244"/>
                </a:lnTo>
                <a:lnTo>
                  <a:pt x="4841" y="1243"/>
                </a:lnTo>
                <a:lnTo>
                  <a:pt x="4837" y="1240"/>
                </a:lnTo>
                <a:lnTo>
                  <a:pt x="4834" y="1238"/>
                </a:lnTo>
                <a:lnTo>
                  <a:pt x="4831" y="1236"/>
                </a:lnTo>
                <a:lnTo>
                  <a:pt x="4829" y="1235"/>
                </a:lnTo>
                <a:lnTo>
                  <a:pt x="4828" y="1234"/>
                </a:lnTo>
                <a:lnTo>
                  <a:pt x="4825" y="1234"/>
                </a:lnTo>
                <a:lnTo>
                  <a:pt x="4823" y="1233"/>
                </a:lnTo>
                <a:lnTo>
                  <a:pt x="4822" y="1230"/>
                </a:lnTo>
                <a:lnTo>
                  <a:pt x="4819" y="1230"/>
                </a:lnTo>
                <a:lnTo>
                  <a:pt x="4817" y="1229"/>
                </a:lnTo>
                <a:lnTo>
                  <a:pt x="4814" y="1227"/>
                </a:lnTo>
                <a:lnTo>
                  <a:pt x="4812" y="1225"/>
                </a:lnTo>
                <a:lnTo>
                  <a:pt x="4807" y="1223"/>
                </a:lnTo>
                <a:lnTo>
                  <a:pt x="4806" y="1222"/>
                </a:lnTo>
                <a:lnTo>
                  <a:pt x="4803" y="1221"/>
                </a:lnTo>
                <a:lnTo>
                  <a:pt x="4801" y="1219"/>
                </a:lnTo>
                <a:lnTo>
                  <a:pt x="4799" y="1218"/>
                </a:lnTo>
                <a:lnTo>
                  <a:pt x="4797" y="1217"/>
                </a:lnTo>
                <a:lnTo>
                  <a:pt x="4795" y="1216"/>
                </a:lnTo>
                <a:lnTo>
                  <a:pt x="4794" y="1215"/>
                </a:lnTo>
                <a:lnTo>
                  <a:pt x="4791" y="1212"/>
                </a:lnTo>
                <a:lnTo>
                  <a:pt x="4789" y="1211"/>
                </a:lnTo>
                <a:lnTo>
                  <a:pt x="4786" y="1210"/>
                </a:lnTo>
                <a:lnTo>
                  <a:pt x="4784" y="1207"/>
                </a:lnTo>
                <a:lnTo>
                  <a:pt x="4782" y="1205"/>
                </a:lnTo>
                <a:lnTo>
                  <a:pt x="4778" y="1202"/>
                </a:lnTo>
                <a:lnTo>
                  <a:pt x="4777" y="1202"/>
                </a:lnTo>
                <a:lnTo>
                  <a:pt x="4772" y="1197"/>
                </a:lnTo>
                <a:lnTo>
                  <a:pt x="4770" y="1195"/>
                </a:lnTo>
                <a:lnTo>
                  <a:pt x="4767" y="1191"/>
                </a:lnTo>
                <a:lnTo>
                  <a:pt x="4765" y="1189"/>
                </a:lnTo>
                <a:lnTo>
                  <a:pt x="4764" y="1186"/>
                </a:lnTo>
                <a:lnTo>
                  <a:pt x="4762" y="1185"/>
                </a:lnTo>
                <a:lnTo>
                  <a:pt x="4761" y="1183"/>
                </a:lnTo>
                <a:lnTo>
                  <a:pt x="4760" y="1179"/>
                </a:lnTo>
                <a:lnTo>
                  <a:pt x="4757" y="1175"/>
                </a:lnTo>
                <a:lnTo>
                  <a:pt x="4756" y="1173"/>
                </a:lnTo>
                <a:lnTo>
                  <a:pt x="4754" y="1167"/>
                </a:lnTo>
                <a:lnTo>
                  <a:pt x="4754" y="1164"/>
                </a:lnTo>
                <a:lnTo>
                  <a:pt x="4754" y="1162"/>
                </a:lnTo>
                <a:lnTo>
                  <a:pt x="4753" y="1158"/>
                </a:lnTo>
                <a:lnTo>
                  <a:pt x="4753" y="1155"/>
                </a:lnTo>
                <a:lnTo>
                  <a:pt x="4751" y="1151"/>
                </a:lnTo>
                <a:lnTo>
                  <a:pt x="4751" y="1146"/>
                </a:lnTo>
                <a:lnTo>
                  <a:pt x="4753" y="1138"/>
                </a:lnTo>
                <a:lnTo>
                  <a:pt x="4753" y="1133"/>
                </a:lnTo>
                <a:lnTo>
                  <a:pt x="4753" y="1130"/>
                </a:lnTo>
                <a:lnTo>
                  <a:pt x="4754" y="1128"/>
                </a:lnTo>
                <a:lnTo>
                  <a:pt x="4754" y="1125"/>
                </a:lnTo>
                <a:lnTo>
                  <a:pt x="4757" y="1116"/>
                </a:lnTo>
                <a:lnTo>
                  <a:pt x="4762" y="1107"/>
                </a:lnTo>
                <a:lnTo>
                  <a:pt x="4765" y="1103"/>
                </a:lnTo>
                <a:lnTo>
                  <a:pt x="4767" y="1100"/>
                </a:lnTo>
                <a:lnTo>
                  <a:pt x="4774" y="1094"/>
                </a:lnTo>
                <a:lnTo>
                  <a:pt x="4780" y="1089"/>
                </a:lnTo>
                <a:lnTo>
                  <a:pt x="4789" y="1084"/>
                </a:lnTo>
                <a:lnTo>
                  <a:pt x="4797" y="1080"/>
                </a:lnTo>
                <a:lnTo>
                  <a:pt x="4807" y="1077"/>
                </a:lnTo>
                <a:lnTo>
                  <a:pt x="4809" y="1077"/>
                </a:lnTo>
                <a:lnTo>
                  <a:pt x="4812" y="1075"/>
                </a:lnTo>
                <a:lnTo>
                  <a:pt x="4813" y="1075"/>
                </a:lnTo>
                <a:lnTo>
                  <a:pt x="4815" y="1074"/>
                </a:lnTo>
                <a:lnTo>
                  <a:pt x="4819" y="1074"/>
                </a:lnTo>
                <a:lnTo>
                  <a:pt x="4823" y="1073"/>
                </a:lnTo>
                <a:lnTo>
                  <a:pt x="4826" y="1073"/>
                </a:lnTo>
                <a:lnTo>
                  <a:pt x="4831" y="1073"/>
                </a:lnTo>
                <a:lnTo>
                  <a:pt x="4847" y="1072"/>
                </a:lnTo>
                <a:lnTo>
                  <a:pt x="4854" y="1072"/>
                </a:lnTo>
                <a:lnTo>
                  <a:pt x="4861" y="1073"/>
                </a:lnTo>
                <a:lnTo>
                  <a:pt x="4867" y="1074"/>
                </a:lnTo>
                <a:lnTo>
                  <a:pt x="4873" y="1075"/>
                </a:lnTo>
                <a:lnTo>
                  <a:pt x="4876" y="1075"/>
                </a:lnTo>
                <a:lnTo>
                  <a:pt x="4878" y="1077"/>
                </a:lnTo>
                <a:lnTo>
                  <a:pt x="4881" y="1077"/>
                </a:lnTo>
                <a:lnTo>
                  <a:pt x="4883" y="1078"/>
                </a:lnTo>
                <a:lnTo>
                  <a:pt x="4887" y="1079"/>
                </a:lnTo>
                <a:lnTo>
                  <a:pt x="4889" y="1079"/>
                </a:lnTo>
                <a:lnTo>
                  <a:pt x="4893" y="1080"/>
                </a:lnTo>
                <a:lnTo>
                  <a:pt x="4898" y="1083"/>
                </a:lnTo>
                <a:lnTo>
                  <a:pt x="4900" y="1084"/>
                </a:lnTo>
                <a:lnTo>
                  <a:pt x="4901" y="1085"/>
                </a:lnTo>
                <a:lnTo>
                  <a:pt x="4901" y="1092"/>
                </a:lnTo>
                <a:lnTo>
                  <a:pt x="4903" y="1094"/>
                </a:lnTo>
                <a:lnTo>
                  <a:pt x="4903" y="1096"/>
                </a:lnTo>
                <a:lnTo>
                  <a:pt x="4903" y="1100"/>
                </a:lnTo>
                <a:lnTo>
                  <a:pt x="4903" y="1107"/>
                </a:lnTo>
                <a:lnTo>
                  <a:pt x="4904" y="1116"/>
                </a:lnTo>
                <a:lnTo>
                  <a:pt x="4904" y="1122"/>
                </a:lnTo>
                <a:lnTo>
                  <a:pt x="4905" y="1128"/>
                </a:lnTo>
                <a:lnTo>
                  <a:pt x="4905" y="1133"/>
                </a:lnTo>
                <a:lnTo>
                  <a:pt x="4906" y="1141"/>
                </a:lnTo>
                <a:lnTo>
                  <a:pt x="4905" y="1144"/>
                </a:lnTo>
                <a:lnTo>
                  <a:pt x="4904" y="1146"/>
                </a:lnTo>
                <a:lnTo>
                  <a:pt x="4900" y="1149"/>
                </a:lnTo>
                <a:lnTo>
                  <a:pt x="4898" y="1150"/>
                </a:lnTo>
                <a:lnTo>
                  <a:pt x="4893" y="1152"/>
                </a:lnTo>
                <a:lnTo>
                  <a:pt x="4889" y="1152"/>
                </a:lnTo>
                <a:lnTo>
                  <a:pt x="4887" y="1152"/>
                </a:lnTo>
                <a:lnTo>
                  <a:pt x="4884" y="1151"/>
                </a:lnTo>
                <a:lnTo>
                  <a:pt x="4883" y="1150"/>
                </a:lnTo>
                <a:lnTo>
                  <a:pt x="4882" y="1149"/>
                </a:lnTo>
                <a:lnTo>
                  <a:pt x="4880" y="1146"/>
                </a:lnTo>
                <a:lnTo>
                  <a:pt x="4876" y="1144"/>
                </a:lnTo>
                <a:lnTo>
                  <a:pt x="4875" y="1143"/>
                </a:lnTo>
                <a:lnTo>
                  <a:pt x="4873" y="1139"/>
                </a:lnTo>
                <a:lnTo>
                  <a:pt x="4873" y="1136"/>
                </a:lnTo>
                <a:lnTo>
                  <a:pt x="4871" y="1132"/>
                </a:lnTo>
                <a:lnTo>
                  <a:pt x="4870" y="1129"/>
                </a:lnTo>
                <a:lnTo>
                  <a:pt x="4870" y="1127"/>
                </a:lnTo>
                <a:lnTo>
                  <a:pt x="4869" y="1123"/>
                </a:lnTo>
                <a:lnTo>
                  <a:pt x="4867" y="1121"/>
                </a:lnTo>
                <a:lnTo>
                  <a:pt x="4866" y="1117"/>
                </a:lnTo>
                <a:lnTo>
                  <a:pt x="4865" y="1114"/>
                </a:lnTo>
                <a:lnTo>
                  <a:pt x="4864" y="1112"/>
                </a:lnTo>
                <a:lnTo>
                  <a:pt x="4863" y="1110"/>
                </a:lnTo>
                <a:lnTo>
                  <a:pt x="4861" y="1108"/>
                </a:lnTo>
                <a:lnTo>
                  <a:pt x="4859" y="1107"/>
                </a:lnTo>
                <a:lnTo>
                  <a:pt x="4857" y="1105"/>
                </a:lnTo>
                <a:lnTo>
                  <a:pt x="4853" y="1102"/>
                </a:lnTo>
                <a:lnTo>
                  <a:pt x="4848" y="1101"/>
                </a:lnTo>
                <a:lnTo>
                  <a:pt x="4843" y="1101"/>
                </a:lnTo>
                <a:lnTo>
                  <a:pt x="4838" y="1101"/>
                </a:lnTo>
                <a:lnTo>
                  <a:pt x="4831" y="1101"/>
                </a:lnTo>
                <a:lnTo>
                  <a:pt x="4828" y="1101"/>
                </a:lnTo>
                <a:lnTo>
                  <a:pt x="4819" y="1103"/>
                </a:lnTo>
                <a:lnTo>
                  <a:pt x="4817" y="1106"/>
                </a:lnTo>
                <a:lnTo>
                  <a:pt x="4813" y="1107"/>
                </a:lnTo>
                <a:lnTo>
                  <a:pt x="4809" y="1110"/>
                </a:lnTo>
                <a:lnTo>
                  <a:pt x="4807" y="1112"/>
                </a:lnTo>
                <a:lnTo>
                  <a:pt x="4802" y="1118"/>
                </a:lnTo>
                <a:lnTo>
                  <a:pt x="4800" y="1119"/>
                </a:lnTo>
                <a:lnTo>
                  <a:pt x="4800" y="1122"/>
                </a:lnTo>
                <a:lnTo>
                  <a:pt x="4799" y="1123"/>
                </a:lnTo>
                <a:lnTo>
                  <a:pt x="4797" y="1125"/>
                </a:lnTo>
                <a:lnTo>
                  <a:pt x="4797" y="1128"/>
                </a:lnTo>
                <a:lnTo>
                  <a:pt x="4796" y="1130"/>
                </a:lnTo>
                <a:lnTo>
                  <a:pt x="4795" y="1133"/>
                </a:lnTo>
                <a:lnTo>
                  <a:pt x="4795" y="1136"/>
                </a:lnTo>
                <a:lnTo>
                  <a:pt x="4794" y="1140"/>
                </a:lnTo>
                <a:lnTo>
                  <a:pt x="4794" y="1145"/>
                </a:lnTo>
                <a:lnTo>
                  <a:pt x="4795" y="1152"/>
                </a:lnTo>
                <a:lnTo>
                  <a:pt x="4795" y="1155"/>
                </a:lnTo>
                <a:lnTo>
                  <a:pt x="4796" y="1156"/>
                </a:lnTo>
                <a:lnTo>
                  <a:pt x="4797" y="1160"/>
                </a:lnTo>
                <a:lnTo>
                  <a:pt x="4799" y="1163"/>
                </a:lnTo>
                <a:lnTo>
                  <a:pt x="4801" y="1164"/>
                </a:lnTo>
                <a:lnTo>
                  <a:pt x="4802" y="1167"/>
                </a:lnTo>
                <a:lnTo>
                  <a:pt x="4805" y="1169"/>
                </a:lnTo>
                <a:lnTo>
                  <a:pt x="4808" y="1173"/>
                </a:lnTo>
                <a:lnTo>
                  <a:pt x="4811" y="1175"/>
                </a:lnTo>
                <a:lnTo>
                  <a:pt x="4813" y="1177"/>
                </a:lnTo>
                <a:lnTo>
                  <a:pt x="4815" y="1179"/>
                </a:lnTo>
                <a:lnTo>
                  <a:pt x="4817" y="1180"/>
                </a:lnTo>
                <a:lnTo>
                  <a:pt x="4819" y="1182"/>
                </a:lnTo>
                <a:lnTo>
                  <a:pt x="4820" y="1182"/>
                </a:lnTo>
                <a:lnTo>
                  <a:pt x="4823" y="1183"/>
                </a:lnTo>
                <a:lnTo>
                  <a:pt x="4825" y="1184"/>
                </a:lnTo>
                <a:lnTo>
                  <a:pt x="4826" y="1185"/>
                </a:lnTo>
                <a:lnTo>
                  <a:pt x="4828" y="1188"/>
                </a:lnTo>
                <a:lnTo>
                  <a:pt x="4831" y="1189"/>
                </a:lnTo>
                <a:lnTo>
                  <a:pt x="4836" y="1190"/>
                </a:lnTo>
                <a:lnTo>
                  <a:pt x="4840" y="1193"/>
                </a:lnTo>
                <a:lnTo>
                  <a:pt x="4841" y="1194"/>
                </a:lnTo>
                <a:lnTo>
                  <a:pt x="4843" y="1195"/>
                </a:lnTo>
                <a:lnTo>
                  <a:pt x="4846" y="1196"/>
                </a:lnTo>
                <a:lnTo>
                  <a:pt x="4848" y="1197"/>
                </a:lnTo>
                <a:lnTo>
                  <a:pt x="4851" y="1199"/>
                </a:lnTo>
                <a:lnTo>
                  <a:pt x="4852" y="1201"/>
                </a:lnTo>
                <a:lnTo>
                  <a:pt x="4854" y="1201"/>
                </a:lnTo>
                <a:lnTo>
                  <a:pt x="4857" y="1202"/>
                </a:lnTo>
                <a:lnTo>
                  <a:pt x="4860" y="1205"/>
                </a:lnTo>
                <a:lnTo>
                  <a:pt x="4865" y="1207"/>
                </a:lnTo>
                <a:lnTo>
                  <a:pt x="4867" y="1208"/>
                </a:lnTo>
                <a:lnTo>
                  <a:pt x="4870" y="1210"/>
                </a:lnTo>
                <a:lnTo>
                  <a:pt x="4872" y="1212"/>
                </a:lnTo>
                <a:lnTo>
                  <a:pt x="4875" y="1213"/>
                </a:lnTo>
                <a:lnTo>
                  <a:pt x="4877" y="1215"/>
                </a:lnTo>
                <a:lnTo>
                  <a:pt x="4878" y="1216"/>
                </a:lnTo>
                <a:lnTo>
                  <a:pt x="4880" y="1218"/>
                </a:lnTo>
                <a:lnTo>
                  <a:pt x="4882" y="1219"/>
                </a:lnTo>
                <a:lnTo>
                  <a:pt x="4884" y="1221"/>
                </a:lnTo>
                <a:lnTo>
                  <a:pt x="4886" y="1222"/>
                </a:lnTo>
                <a:lnTo>
                  <a:pt x="4889" y="1224"/>
                </a:lnTo>
                <a:lnTo>
                  <a:pt x="4898" y="1232"/>
                </a:lnTo>
                <a:lnTo>
                  <a:pt x="4903" y="1236"/>
                </a:lnTo>
                <a:lnTo>
                  <a:pt x="4906" y="1241"/>
                </a:lnTo>
                <a:lnTo>
                  <a:pt x="4909" y="1246"/>
                </a:lnTo>
                <a:lnTo>
                  <a:pt x="4912" y="1251"/>
                </a:lnTo>
                <a:lnTo>
                  <a:pt x="4915" y="1257"/>
                </a:lnTo>
                <a:lnTo>
                  <a:pt x="4917" y="1263"/>
                </a:lnTo>
                <a:lnTo>
                  <a:pt x="4917" y="1265"/>
                </a:lnTo>
                <a:lnTo>
                  <a:pt x="4917" y="1267"/>
                </a:lnTo>
                <a:lnTo>
                  <a:pt x="4918" y="1271"/>
                </a:lnTo>
                <a:lnTo>
                  <a:pt x="4918" y="1273"/>
                </a:lnTo>
                <a:lnTo>
                  <a:pt x="4919" y="1276"/>
                </a:lnTo>
                <a:lnTo>
                  <a:pt x="4919" y="1282"/>
                </a:lnTo>
                <a:lnTo>
                  <a:pt x="4918" y="1293"/>
                </a:lnTo>
                <a:lnTo>
                  <a:pt x="4916" y="1304"/>
                </a:lnTo>
                <a:lnTo>
                  <a:pt x="4913" y="1312"/>
                </a:lnTo>
                <a:lnTo>
                  <a:pt x="4913" y="1313"/>
                </a:lnTo>
                <a:lnTo>
                  <a:pt x="4912" y="1316"/>
                </a:lnTo>
                <a:lnTo>
                  <a:pt x="4911" y="1318"/>
                </a:lnTo>
                <a:lnTo>
                  <a:pt x="4910" y="1321"/>
                </a:lnTo>
                <a:lnTo>
                  <a:pt x="4907" y="1324"/>
                </a:lnTo>
                <a:lnTo>
                  <a:pt x="4906" y="1327"/>
                </a:lnTo>
                <a:lnTo>
                  <a:pt x="4905" y="1329"/>
                </a:lnTo>
                <a:lnTo>
                  <a:pt x="4903" y="1330"/>
                </a:lnTo>
                <a:lnTo>
                  <a:pt x="4901" y="1332"/>
                </a:lnTo>
                <a:lnTo>
                  <a:pt x="4899" y="1335"/>
                </a:lnTo>
                <a:lnTo>
                  <a:pt x="4893" y="1341"/>
                </a:lnTo>
                <a:lnTo>
                  <a:pt x="4888" y="1348"/>
                </a:lnTo>
                <a:lnTo>
                  <a:pt x="4886" y="1350"/>
                </a:lnTo>
                <a:lnTo>
                  <a:pt x="4883" y="1351"/>
                </a:lnTo>
                <a:lnTo>
                  <a:pt x="4881" y="1352"/>
                </a:lnTo>
                <a:lnTo>
                  <a:pt x="4878" y="1354"/>
                </a:lnTo>
                <a:lnTo>
                  <a:pt x="4876" y="1355"/>
                </a:lnTo>
                <a:lnTo>
                  <a:pt x="4873" y="1356"/>
                </a:lnTo>
                <a:lnTo>
                  <a:pt x="4871" y="1357"/>
                </a:lnTo>
                <a:lnTo>
                  <a:pt x="4867" y="1360"/>
                </a:lnTo>
                <a:lnTo>
                  <a:pt x="4865" y="1361"/>
                </a:lnTo>
                <a:lnTo>
                  <a:pt x="4849" y="1366"/>
                </a:lnTo>
                <a:lnTo>
                  <a:pt x="4846" y="1366"/>
                </a:lnTo>
                <a:lnTo>
                  <a:pt x="4838" y="1368"/>
                </a:lnTo>
                <a:lnTo>
                  <a:pt x="4830" y="1368"/>
                </a:lnTo>
                <a:lnTo>
                  <a:pt x="4813" y="1368"/>
                </a:lnTo>
                <a:lnTo>
                  <a:pt x="4795" y="1367"/>
                </a:lnTo>
                <a:lnTo>
                  <a:pt x="4786" y="1366"/>
                </a:lnTo>
                <a:lnTo>
                  <a:pt x="4766" y="1360"/>
                </a:lnTo>
                <a:lnTo>
                  <a:pt x="4754" y="1354"/>
                </a:lnTo>
                <a:close/>
                <a:moveTo>
                  <a:pt x="4110" y="1365"/>
                </a:moveTo>
                <a:lnTo>
                  <a:pt x="4110" y="1330"/>
                </a:lnTo>
                <a:lnTo>
                  <a:pt x="4107" y="1334"/>
                </a:lnTo>
                <a:lnTo>
                  <a:pt x="4106" y="1337"/>
                </a:lnTo>
                <a:lnTo>
                  <a:pt x="4105" y="1338"/>
                </a:lnTo>
                <a:lnTo>
                  <a:pt x="4104" y="1339"/>
                </a:lnTo>
                <a:lnTo>
                  <a:pt x="4100" y="1344"/>
                </a:lnTo>
                <a:lnTo>
                  <a:pt x="4099" y="1346"/>
                </a:lnTo>
                <a:lnTo>
                  <a:pt x="4093" y="1351"/>
                </a:lnTo>
                <a:lnTo>
                  <a:pt x="4090" y="1354"/>
                </a:lnTo>
                <a:lnTo>
                  <a:pt x="4088" y="1355"/>
                </a:lnTo>
                <a:lnTo>
                  <a:pt x="4087" y="1356"/>
                </a:lnTo>
                <a:lnTo>
                  <a:pt x="4084" y="1357"/>
                </a:lnTo>
                <a:lnTo>
                  <a:pt x="4081" y="1359"/>
                </a:lnTo>
                <a:lnTo>
                  <a:pt x="4078" y="1361"/>
                </a:lnTo>
                <a:lnTo>
                  <a:pt x="4076" y="1362"/>
                </a:lnTo>
                <a:lnTo>
                  <a:pt x="4073" y="1362"/>
                </a:lnTo>
                <a:lnTo>
                  <a:pt x="4060" y="1367"/>
                </a:lnTo>
                <a:lnTo>
                  <a:pt x="4058" y="1367"/>
                </a:lnTo>
                <a:lnTo>
                  <a:pt x="4053" y="1368"/>
                </a:lnTo>
                <a:lnTo>
                  <a:pt x="4049" y="1368"/>
                </a:lnTo>
                <a:lnTo>
                  <a:pt x="4041" y="1368"/>
                </a:lnTo>
                <a:lnTo>
                  <a:pt x="4032" y="1367"/>
                </a:lnTo>
                <a:lnTo>
                  <a:pt x="4025" y="1366"/>
                </a:lnTo>
                <a:lnTo>
                  <a:pt x="4023" y="1366"/>
                </a:lnTo>
                <a:lnTo>
                  <a:pt x="4019" y="1365"/>
                </a:lnTo>
                <a:lnTo>
                  <a:pt x="4015" y="1363"/>
                </a:lnTo>
                <a:lnTo>
                  <a:pt x="4013" y="1362"/>
                </a:lnTo>
                <a:lnTo>
                  <a:pt x="4010" y="1361"/>
                </a:lnTo>
                <a:lnTo>
                  <a:pt x="4008" y="1360"/>
                </a:lnTo>
                <a:lnTo>
                  <a:pt x="4006" y="1359"/>
                </a:lnTo>
                <a:lnTo>
                  <a:pt x="4003" y="1357"/>
                </a:lnTo>
                <a:lnTo>
                  <a:pt x="4002" y="1356"/>
                </a:lnTo>
                <a:lnTo>
                  <a:pt x="4000" y="1355"/>
                </a:lnTo>
                <a:lnTo>
                  <a:pt x="3998" y="1352"/>
                </a:lnTo>
                <a:lnTo>
                  <a:pt x="3992" y="1348"/>
                </a:lnTo>
                <a:lnTo>
                  <a:pt x="3989" y="1344"/>
                </a:lnTo>
                <a:lnTo>
                  <a:pt x="3986" y="1341"/>
                </a:lnTo>
                <a:lnTo>
                  <a:pt x="3985" y="1339"/>
                </a:lnTo>
                <a:lnTo>
                  <a:pt x="3985" y="1338"/>
                </a:lnTo>
                <a:lnTo>
                  <a:pt x="3984" y="1337"/>
                </a:lnTo>
                <a:lnTo>
                  <a:pt x="3983" y="1334"/>
                </a:lnTo>
                <a:lnTo>
                  <a:pt x="3981" y="1330"/>
                </a:lnTo>
                <a:lnTo>
                  <a:pt x="3980" y="1328"/>
                </a:lnTo>
                <a:lnTo>
                  <a:pt x="3979" y="1327"/>
                </a:lnTo>
                <a:lnTo>
                  <a:pt x="3978" y="1324"/>
                </a:lnTo>
                <a:lnTo>
                  <a:pt x="3977" y="1321"/>
                </a:lnTo>
                <a:lnTo>
                  <a:pt x="3977" y="1319"/>
                </a:lnTo>
                <a:lnTo>
                  <a:pt x="3975" y="1317"/>
                </a:lnTo>
                <a:lnTo>
                  <a:pt x="3975" y="1316"/>
                </a:lnTo>
                <a:lnTo>
                  <a:pt x="3974" y="1313"/>
                </a:lnTo>
                <a:lnTo>
                  <a:pt x="3974" y="1311"/>
                </a:lnTo>
                <a:lnTo>
                  <a:pt x="3973" y="1307"/>
                </a:lnTo>
                <a:lnTo>
                  <a:pt x="3973" y="1305"/>
                </a:lnTo>
                <a:lnTo>
                  <a:pt x="3972" y="1300"/>
                </a:lnTo>
                <a:lnTo>
                  <a:pt x="3972" y="1293"/>
                </a:lnTo>
                <a:lnTo>
                  <a:pt x="3971" y="1284"/>
                </a:lnTo>
                <a:lnTo>
                  <a:pt x="3972" y="1276"/>
                </a:lnTo>
                <a:lnTo>
                  <a:pt x="3972" y="1272"/>
                </a:lnTo>
                <a:lnTo>
                  <a:pt x="3973" y="1268"/>
                </a:lnTo>
                <a:lnTo>
                  <a:pt x="3973" y="1266"/>
                </a:lnTo>
                <a:lnTo>
                  <a:pt x="3974" y="1263"/>
                </a:lnTo>
                <a:lnTo>
                  <a:pt x="3974" y="1261"/>
                </a:lnTo>
                <a:lnTo>
                  <a:pt x="3975" y="1260"/>
                </a:lnTo>
                <a:lnTo>
                  <a:pt x="3975" y="1257"/>
                </a:lnTo>
                <a:lnTo>
                  <a:pt x="3977" y="1256"/>
                </a:lnTo>
                <a:lnTo>
                  <a:pt x="3977" y="1254"/>
                </a:lnTo>
                <a:lnTo>
                  <a:pt x="3978" y="1251"/>
                </a:lnTo>
                <a:lnTo>
                  <a:pt x="3980" y="1247"/>
                </a:lnTo>
                <a:lnTo>
                  <a:pt x="3981" y="1245"/>
                </a:lnTo>
                <a:lnTo>
                  <a:pt x="3983" y="1241"/>
                </a:lnTo>
                <a:lnTo>
                  <a:pt x="3984" y="1240"/>
                </a:lnTo>
                <a:lnTo>
                  <a:pt x="3985" y="1238"/>
                </a:lnTo>
                <a:lnTo>
                  <a:pt x="3986" y="1236"/>
                </a:lnTo>
                <a:lnTo>
                  <a:pt x="3988" y="1234"/>
                </a:lnTo>
                <a:lnTo>
                  <a:pt x="3989" y="1233"/>
                </a:lnTo>
                <a:lnTo>
                  <a:pt x="3992" y="1230"/>
                </a:lnTo>
                <a:lnTo>
                  <a:pt x="3995" y="1227"/>
                </a:lnTo>
                <a:lnTo>
                  <a:pt x="4000" y="1221"/>
                </a:lnTo>
                <a:lnTo>
                  <a:pt x="4003" y="1218"/>
                </a:lnTo>
                <a:lnTo>
                  <a:pt x="4004" y="1217"/>
                </a:lnTo>
                <a:lnTo>
                  <a:pt x="4007" y="1216"/>
                </a:lnTo>
                <a:lnTo>
                  <a:pt x="4009" y="1215"/>
                </a:lnTo>
                <a:lnTo>
                  <a:pt x="4010" y="1213"/>
                </a:lnTo>
                <a:lnTo>
                  <a:pt x="4013" y="1212"/>
                </a:lnTo>
                <a:lnTo>
                  <a:pt x="4014" y="1211"/>
                </a:lnTo>
                <a:lnTo>
                  <a:pt x="4017" y="1210"/>
                </a:lnTo>
                <a:lnTo>
                  <a:pt x="4019" y="1208"/>
                </a:lnTo>
                <a:lnTo>
                  <a:pt x="4021" y="1207"/>
                </a:lnTo>
                <a:lnTo>
                  <a:pt x="4024" y="1206"/>
                </a:lnTo>
                <a:lnTo>
                  <a:pt x="4029" y="1204"/>
                </a:lnTo>
                <a:lnTo>
                  <a:pt x="4030" y="1204"/>
                </a:lnTo>
                <a:lnTo>
                  <a:pt x="4032" y="1202"/>
                </a:lnTo>
                <a:lnTo>
                  <a:pt x="4036" y="1201"/>
                </a:lnTo>
                <a:lnTo>
                  <a:pt x="4038" y="1200"/>
                </a:lnTo>
                <a:lnTo>
                  <a:pt x="4041" y="1199"/>
                </a:lnTo>
                <a:lnTo>
                  <a:pt x="4042" y="1199"/>
                </a:lnTo>
                <a:lnTo>
                  <a:pt x="4043" y="1197"/>
                </a:lnTo>
                <a:lnTo>
                  <a:pt x="4048" y="1196"/>
                </a:lnTo>
                <a:lnTo>
                  <a:pt x="4071" y="1191"/>
                </a:lnTo>
                <a:lnTo>
                  <a:pt x="4078" y="1190"/>
                </a:lnTo>
                <a:lnTo>
                  <a:pt x="4081" y="1190"/>
                </a:lnTo>
                <a:lnTo>
                  <a:pt x="4084" y="1190"/>
                </a:lnTo>
                <a:lnTo>
                  <a:pt x="4088" y="1189"/>
                </a:lnTo>
                <a:lnTo>
                  <a:pt x="4091" y="1189"/>
                </a:lnTo>
                <a:lnTo>
                  <a:pt x="4095" y="1188"/>
                </a:lnTo>
                <a:lnTo>
                  <a:pt x="4102" y="1186"/>
                </a:lnTo>
                <a:lnTo>
                  <a:pt x="4110" y="1185"/>
                </a:lnTo>
                <a:lnTo>
                  <a:pt x="4110" y="1174"/>
                </a:lnTo>
                <a:lnTo>
                  <a:pt x="4110" y="1163"/>
                </a:lnTo>
                <a:lnTo>
                  <a:pt x="4108" y="1155"/>
                </a:lnTo>
                <a:lnTo>
                  <a:pt x="4107" y="1150"/>
                </a:lnTo>
                <a:lnTo>
                  <a:pt x="4107" y="1145"/>
                </a:lnTo>
                <a:lnTo>
                  <a:pt x="4105" y="1138"/>
                </a:lnTo>
                <a:lnTo>
                  <a:pt x="4101" y="1130"/>
                </a:lnTo>
                <a:lnTo>
                  <a:pt x="4099" y="1127"/>
                </a:lnTo>
                <a:lnTo>
                  <a:pt x="4096" y="1124"/>
                </a:lnTo>
                <a:lnTo>
                  <a:pt x="4090" y="1118"/>
                </a:lnTo>
                <a:lnTo>
                  <a:pt x="4089" y="1117"/>
                </a:lnTo>
                <a:lnTo>
                  <a:pt x="4087" y="1116"/>
                </a:lnTo>
                <a:lnTo>
                  <a:pt x="4085" y="1114"/>
                </a:lnTo>
                <a:lnTo>
                  <a:pt x="4079" y="1112"/>
                </a:lnTo>
                <a:lnTo>
                  <a:pt x="4076" y="1111"/>
                </a:lnTo>
                <a:lnTo>
                  <a:pt x="4073" y="1110"/>
                </a:lnTo>
                <a:lnTo>
                  <a:pt x="4072" y="1110"/>
                </a:lnTo>
                <a:lnTo>
                  <a:pt x="4065" y="1108"/>
                </a:lnTo>
                <a:lnTo>
                  <a:pt x="4062" y="1107"/>
                </a:lnTo>
                <a:lnTo>
                  <a:pt x="4058" y="1107"/>
                </a:lnTo>
                <a:lnTo>
                  <a:pt x="4049" y="1107"/>
                </a:lnTo>
                <a:lnTo>
                  <a:pt x="4042" y="1110"/>
                </a:lnTo>
                <a:lnTo>
                  <a:pt x="4036" y="1111"/>
                </a:lnTo>
                <a:lnTo>
                  <a:pt x="4035" y="1112"/>
                </a:lnTo>
                <a:lnTo>
                  <a:pt x="4032" y="1113"/>
                </a:lnTo>
                <a:lnTo>
                  <a:pt x="4030" y="1117"/>
                </a:lnTo>
                <a:lnTo>
                  <a:pt x="4029" y="1118"/>
                </a:lnTo>
                <a:lnTo>
                  <a:pt x="4027" y="1119"/>
                </a:lnTo>
                <a:lnTo>
                  <a:pt x="4027" y="1122"/>
                </a:lnTo>
                <a:lnTo>
                  <a:pt x="4026" y="1124"/>
                </a:lnTo>
                <a:lnTo>
                  <a:pt x="4025" y="1127"/>
                </a:lnTo>
                <a:lnTo>
                  <a:pt x="4023" y="1130"/>
                </a:lnTo>
                <a:lnTo>
                  <a:pt x="4023" y="1132"/>
                </a:lnTo>
                <a:lnTo>
                  <a:pt x="4020" y="1135"/>
                </a:lnTo>
                <a:lnTo>
                  <a:pt x="4020" y="1138"/>
                </a:lnTo>
                <a:lnTo>
                  <a:pt x="4018" y="1141"/>
                </a:lnTo>
                <a:lnTo>
                  <a:pt x="4018" y="1143"/>
                </a:lnTo>
                <a:lnTo>
                  <a:pt x="4017" y="1145"/>
                </a:lnTo>
                <a:lnTo>
                  <a:pt x="4015" y="1147"/>
                </a:lnTo>
                <a:lnTo>
                  <a:pt x="4014" y="1150"/>
                </a:lnTo>
                <a:lnTo>
                  <a:pt x="4013" y="1153"/>
                </a:lnTo>
                <a:lnTo>
                  <a:pt x="4012" y="1156"/>
                </a:lnTo>
                <a:lnTo>
                  <a:pt x="4010" y="1158"/>
                </a:lnTo>
                <a:lnTo>
                  <a:pt x="4006" y="1162"/>
                </a:lnTo>
                <a:lnTo>
                  <a:pt x="4003" y="1162"/>
                </a:lnTo>
                <a:lnTo>
                  <a:pt x="4000" y="1163"/>
                </a:lnTo>
                <a:lnTo>
                  <a:pt x="3997" y="1164"/>
                </a:lnTo>
                <a:lnTo>
                  <a:pt x="3994" y="1164"/>
                </a:lnTo>
                <a:lnTo>
                  <a:pt x="3991" y="1163"/>
                </a:lnTo>
                <a:lnTo>
                  <a:pt x="3989" y="1161"/>
                </a:lnTo>
                <a:lnTo>
                  <a:pt x="3988" y="1160"/>
                </a:lnTo>
                <a:lnTo>
                  <a:pt x="3986" y="1157"/>
                </a:lnTo>
                <a:lnTo>
                  <a:pt x="3985" y="1153"/>
                </a:lnTo>
                <a:lnTo>
                  <a:pt x="3985" y="1151"/>
                </a:lnTo>
                <a:lnTo>
                  <a:pt x="3985" y="1144"/>
                </a:lnTo>
                <a:lnTo>
                  <a:pt x="3985" y="1140"/>
                </a:lnTo>
                <a:lnTo>
                  <a:pt x="3989" y="1127"/>
                </a:lnTo>
                <a:lnTo>
                  <a:pt x="3990" y="1119"/>
                </a:lnTo>
                <a:lnTo>
                  <a:pt x="3992" y="1113"/>
                </a:lnTo>
                <a:lnTo>
                  <a:pt x="3992" y="1107"/>
                </a:lnTo>
                <a:lnTo>
                  <a:pt x="3994" y="1102"/>
                </a:lnTo>
                <a:lnTo>
                  <a:pt x="3995" y="1100"/>
                </a:lnTo>
                <a:lnTo>
                  <a:pt x="3995" y="1097"/>
                </a:lnTo>
                <a:lnTo>
                  <a:pt x="3996" y="1094"/>
                </a:lnTo>
                <a:lnTo>
                  <a:pt x="3998" y="1084"/>
                </a:lnTo>
                <a:lnTo>
                  <a:pt x="4009" y="1080"/>
                </a:lnTo>
                <a:lnTo>
                  <a:pt x="4012" y="1080"/>
                </a:lnTo>
                <a:lnTo>
                  <a:pt x="4013" y="1079"/>
                </a:lnTo>
                <a:lnTo>
                  <a:pt x="4014" y="1079"/>
                </a:lnTo>
                <a:lnTo>
                  <a:pt x="4017" y="1078"/>
                </a:lnTo>
                <a:lnTo>
                  <a:pt x="4019" y="1078"/>
                </a:lnTo>
                <a:lnTo>
                  <a:pt x="4021" y="1077"/>
                </a:lnTo>
                <a:lnTo>
                  <a:pt x="4024" y="1077"/>
                </a:lnTo>
                <a:lnTo>
                  <a:pt x="4026" y="1075"/>
                </a:lnTo>
                <a:lnTo>
                  <a:pt x="4043" y="1073"/>
                </a:lnTo>
                <a:lnTo>
                  <a:pt x="4052" y="1073"/>
                </a:lnTo>
                <a:lnTo>
                  <a:pt x="4068" y="1073"/>
                </a:lnTo>
                <a:lnTo>
                  <a:pt x="4079" y="1074"/>
                </a:lnTo>
                <a:lnTo>
                  <a:pt x="4096" y="1079"/>
                </a:lnTo>
                <a:lnTo>
                  <a:pt x="4099" y="1080"/>
                </a:lnTo>
                <a:lnTo>
                  <a:pt x="4100" y="1081"/>
                </a:lnTo>
                <a:lnTo>
                  <a:pt x="4104" y="1083"/>
                </a:lnTo>
                <a:lnTo>
                  <a:pt x="4106" y="1084"/>
                </a:lnTo>
                <a:lnTo>
                  <a:pt x="4108" y="1086"/>
                </a:lnTo>
                <a:lnTo>
                  <a:pt x="4111" y="1088"/>
                </a:lnTo>
                <a:lnTo>
                  <a:pt x="4112" y="1088"/>
                </a:lnTo>
                <a:lnTo>
                  <a:pt x="4114" y="1089"/>
                </a:lnTo>
                <a:lnTo>
                  <a:pt x="4116" y="1090"/>
                </a:lnTo>
                <a:lnTo>
                  <a:pt x="4117" y="1092"/>
                </a:lnTo>
                <a:lnTo>
                  <a:pt x="4120" y="1095"/>
                </a:lnTo>
                <a:lnTo>
                  <a:pt x="4123" y="1097"/>
                </a:lnTo>
                <a:lnTo>
                  <a:pt x="4128" y="1102"/>
                </a:lnTo>
                <a:lnTo>
                  <a:pt x="4131" y="1106"/>
                </a:lnTo>
                <a:lnTo>
                  <a:pt x="4133" y="1108"/>
                </a:lnTo>
                <a:lnTo>
                  <a:pt x="4134" y="1110"/>
                </a:lnTo>
                <a:lnTo>
                  <a:pt x="4135" y="1112"/>
                </a:lnTo>
                <a:lnTo>
                  <a:pt x="4136" y="1113"/>
                </a:lnTo>
                <a:lnTo>
                  <a:pt x="4137" y="1116"/>
                </a:lnTo>
                <a:lnTo>
                  <a:pt x="4140" y="1119"/>
                </a:lnTo>
                <a:lnTo>
                  <a:pt x="4141" y="1123"/>
                </a:lnTo>
                <a:lnTo>
                  <a:pt x="4142" y="1125"/>
                </a:lnTo>
                <a:lnTo>
                  <a:pt x="4143" y="1128"/>
                </a:lnTo>
                <a:lnTo>
                  <a:pt x="4145" y="1133"/>
                </a:lnTo>
                <a:lnTo>
                  <a:pt x="4145" y="1135"/>
                </a:lnTo>
                <a:lnTo>
                  <a:pt x="4146" y="1136"/>
                </a:lnTo>
                <a:lnTo>
                  <a:pt x="4146" y="1139"/>
                </a:lnTo>
                <a:lnTo>
                  <a:pt x="4147" y="1141"/>
                </a:lnTo>
                <a:lnTo>
                  <a:pt x="4148" y="1152"/>
                </a:lnTo>
                <a:lnTo>
                  <a:pt x="4149" y="1161"/>
                </a:lnTo>
                <a:lnTo>
                  <a:pt x="4149" y="1191"/>
                </a:lnTo>
                <a:lnTo>
                  <a:pt x="4149" y="1279"/>
                </a:lnTo>
                <a:lnTo>
                  <a:pt x="4149" y="1304"/>
                </a:lnTo>
                <a:lnTo>
                  <a:pt x="4149" y="1316"/>
                </a:lnTo>
                <a:lnTo>
                  <a:pt x="4151" y="1327"/>
                </a:lnTo>
                <a:lnTo>
                  <a:pt x="4153" y="1329"/>
                </a:lnTo>
                <a:lnTo>
                  <a:pt x="4157" y="1332"/>
                </a:lnTo>
                <a:lnTo>
                  <a:pt x="4164" y="1333"/>
                </a:lnTo>
                <a:lnTo>
                  <a:pt x="4165" y="1334"/>
                </a:lnTo>
                <a:lnTo>
                  <a:pt x="4168" y="1334"/>
                </a:lnTo>
                <a:lnTo>
                  <a:pt x="4169" y="1335"/>
                </a:lnTo>
                <a:lnTo>
                  <a:pt x="4171" y="1335"/>
                </a:lnTo>
                <a:lnTo>
                  <a:pt x="4172" y="1337"/>
                </a:lnTo>
                <a:lnTo>
                  <a:pt x="4178" y="1338"/>
                </a:lnTo>
                <a:lnTo>
                  <a:pt x="4185" y="1340"/>
                </a:lnTo>
                <a:lnTo>
                  <a:pt x="4187" y="1341"/>
                </a:lnTo>
                <a:lnTo>
                  <a:pt x="4188" y="1343"/>
                </a:lnTo>
                <a:lnTo>
                  <a:pt x="4189" y="1345"/>
                </a:lnTo>
                <a:lnTo>
                  <a:pt x="4191" y="1346"/>
                </a:lnTo>
                <a:lnTo>
                  <a:pt x="4191" y="1349"/>
                </a:lnTo>
                <a:lnTo>
                  <a:pt x="4191" y="1354"/>
                </a:lnTo>
                <a:lnTo>
                  <a:pt x="4189" y="1359"/>
                </a:lnTo>
                <a:lnTo>
                  <a:pt x="4188" y="1360"/>
                </a:lnTo>
                <a:lnTo>
                  <a:pt x="4188" y="1361"/>
                </a:lnTo>
                <a:lnTo>
                  <a:pt x="4186" y="1362"/>
                </a:lnTo>
                <a:lnTo>
                  <a:pt x="4185" y="1362"/>
                </a:lnTo>
                <a:lnTo>
                  <a:pt x="4183" y="1363"/>
                </a:lnTo>
                <a:lnTo>
                  <a:pt x="4165" y="1365"/>
                </a:lnTo>
                <a:lnTo>
                  <a:pt x="4147" y="1365"/>
                </a:lnTo>
                <a:lnTo>
                  <a:pt x="4110" y="1365"/>
                </a:lnTo>
                <a:close/>
                <a:moveTo>
                  <a:pt x="3486" y="1365"/>
                </a:moveTo>
                <a:lnTo>
                  <a:pt x="3486" y="1333"/>
                </a:lnTo>
                <a:lnTo>
                  <a:pt x="3481" y="1338"/>
                </a:lnTo>
                <a:lnTo>
                  <a:pt x="3479" y="1340"/>
                </a:lnTo>
                <a:lnTo>
                  <a:pt x="3474" y="1346"/>
                </a:lnTo>
                <a:lnTo>
                  <a:pt x="3473" y="1349"/>
                </a:lnTo>
                <a:lnTo>
                  <a:pt x="3469" y="1351"/>
                </a:lnTo>
                <a:lnTo>
                  <a:pt x="3467" y="1352"/>
                </a:lnTo>
                <a:lnTo>
                  <a:pt x="3464" y="1355"/>
                </a:lnTo>
                <a:lnTo>
                  <a:pt x="3463" y="1356"/>
                </a:lnTo>
                <a:lnTo>
                  <a:pt x="3461" y="1356"/>
                </a:lnTo>
                <a:lnTo>
                  <a:pt x="3457" y="1359"/>
                </a:lnTo>
                <a:lnTo>
                  <a:pt x="3452" y="1361"/>
                </a:lnTo>
                <a:lnTo>
                  <a:pt x="3451" y="1361"/>
                </a:lnTo>
                <a:lnTo>
                  <a:pt x="3448" y="1362"/>
                </a:lnTo>
                <a:lnTo>
                  <a:pt x="3442" y="1365"/>
                </a:lnTo>
                <a:lnTo>
                  <a:pt x="3441" y="1365"/>
                </a:lnTo>
                <a:lnTo>
                  <a:pt x="3439" y="1366"/>
                </a:lnTo>
                <a:lnTo>
                  <a:pt x="3436" y="1366"/>
                </a:lnTo>
                <a:lnTo>
                  <a:pt x="3433" y="1366"/>
                </a:lnTo>
                <a:lnTo>
                  <a:pt x="3429" y="1367"/>
                </a:lnTo>
                <a:lnTo>
                  <a:pt x="3424" y="1367"/>
                </a:lnTo>
                <a:lnTo>
                  <a:pt x="3421" y="1368"/>
                </a:lnTo>
                <a:lnTo>
                  <a:pt x="3417" y="1368"/>
                </a:lnTo>
                <a:lnTo>
                  <a:pt x="3409" y="1368"/>
                </a:lnTo>
                <a:lnTo>
                  <a:pt x="3400" y="1367"/>
                </a:lnTo>
                <a:lnTo>
                  <a:pt x="3393" y="1366"/>
                </a:lnTo>
                <a:lnTo>
                  <a:pt x="3386" y="1365"/>
                </a:lnTo>
                <a:lnTo>
                  <a:pt x="3381" y="1362"/>
                </a:lnTo>
                <a:lnTo>
                  <a:pt x="3377" y="1361"/>
                </a:lnTo>
                <a:lnTo>
                  <a:pt x="3375" y="1360"/>
                </a:lnTo>
                <a:lnTo>
                  <a:pt x="3371" y="1357"/>
                </a:lnTo>
                <a:lnTo>
                  <a:pt x="3370" y="1356"/>
                </a:lnTo>
                <a:lnTo>
                  <a:pt x="3367" y="1355"/>
                </a:lnTo>
                <a:lnTo>
                  <a:pt x="3366" y="1354"/>
                </a:lnTo>
                <a:lnTo>
                  <a:pt x="3364" y="1352"/>
                </a:lnTo>
                <a:lnTo>
                  <a:pt x="3361" y="1350"/>
                </a:lnTo>
                <a:lnTo>
                  <a:pt x="3358" y="1346"/>
                </a:lnTo>
                <a:lnTo>
                  <a:pt x="3354" y="1343"/>
                </a:lnTo>
                <a:lnTo>
                  <a:pt x="3347" y="1334"/>
                </a:lnTo>
                <a:lnTo>
                  <a:pt x="3342" y="1326"/>
                </a:lnTo>
                <a:lnTo>
                  <a:pt x="3337" y="1315"/>
                </a:lnTo>
                <a:lnTo>
                  <a:pt x="3336" y="1311"/>
                </a:lnTo>
                <a:lnTo>
                  <a:pt x="3335" y="1306"/>
                </a:lnTo>
                <a:lnTo>
                  <a:pt x="3334" y="1299"/>
                </a:lnTo>
                <a:lnTo>
                  <a:pt x="3332" y="1293"/>
                </a:lnTo>
                <a:lnTo>
                  <a:pt x="3331" y="1285"/>
                </a:lnTo>
                <a:lnTo>
                  <a:pt x="3331" y="1271"/>
                </a:lnTo>
                <a:lnTo>
                  <a:pt x="3331" y="1256"/>
                </a:lnTo>
                <a:lnTo>
                  <a:pt x="3331" y="1167"/>
                </a:lnTo>
                <a:lnTo>
                  <a:pt x="3331" y="1139"/>
                </a:lnTo>
                <a:lnTo>
                  <a:pt x="3331" y="1130"/>
                </a:lnTo>
                <a:lnTo>
                  <a:pt x="3331" y="1122"/>
                </a:lnTo>
                <a:lnTo>
                  <a:pt x="3326" y="1122"/>
                </a:lnTo>
                <a:lnTo>
                  <a:pt x="3322" y="1122"/>
                </a:lnTo>
                <a:lnTo>
                  <a:pt x="3312" y="1122"/>
                </a:lnTo>
                <a:lnTo>
                  <a:pt x="3302" y="1122"/>
                </a:lnTo>
                <a:lnTo>
                  <a:pt x="3294" y="1121"/>
                </a:lnTo>
                <a:lnTo>
                  <a:pt x="3291" y="1118"/>
                </a:lnTo>
                <a:lnTo>
                  <a:pt x="3291" y="1117"/>
                </a:lnTo>
                <a:lnTo>
                  <a:pt x="3290" y="1116"/>
                </a:lnTo>
                <a:lnTo>
                  <a:pt x="3290" y="1112"/>
                </a:lnTo>
                <a:lnTo>
                  <a:pt x="3290" y="1108"/>
                </a:lnTo>
                <a:lnTo>
                  <a:pt x="3290" y="1106"/>
                </a:lnTo>
                <a:lnTo>
                  <a:pt x="3291" y="1106"/>
                </a:lnTo>
                <a:lnTo>
                  <a:pt x="3293" y="1103"/>
                </a:lnTo>
                <a:lnTo>
                  <a:pt x="3295" y="1102"/>
                </a:lnTo>
                <a:lnTo>
                  <a:pt x="3297" y="1102"/>
                </a:lnTo>
                <a:lnTo>
                  <a:pt x="3300" y="1100"/>
                </a:lnTo>
                <a:lnTo>
                  <a:pt x="3302" y="1099"/>
                </a:lnTo>
                <a:lnTo>
                  <a:pt x="3305" y="1097"/>
                </a:lnTo>
                <a:lnTo>
                  <a:pt x="3307" y="1096"/>
                </a:lnTo>
                <a:lnTo>
                  <a:pt x="3309" y="1095"/>
                </a:lnTo>
                <a:lnTo>
                  <a:pt x="3312" y="1094"/>
                </a:lnTo>
                <a:lnTo>
                  <a:pt x="3314" y="1092"/>
                </a:lnTo>
                <a:lnTo>
                  <a:pt x="3317" y="1091"/>
                </a:lnTo>
                <a:lnTo>
                  <a:pt x="3319" y="1090"/>
                </a:lnTo>
                <a:lnTo>
                  <a:pt x="3323" y="1088"/>
                </a:lnTo>
                <a:lnTo>
                  <a:pt x="3325" y="1088"/>
                </a:lnTo>
                <a:lnTo>
                  <a:pt x="3328" y="1086"/>
                </a:lnTo>
                <a:lnTo>
                  <a:pt x="3330" y="1085"/>
                </a:lnTo>
                <a:lnTo>
                  <a:pt x="3332" y="1084"/>
                </a:lnTo>
                <a:lnTo>
                  <a:pt x="3335" y="1083"/>
                </a:lnTo>
                <a:lnTo>
                  <a:pt x="3337" y="1081"/>
                </a:lnTo>
                <a:lnTo>
                  <a:pt x="3340" y="1080"/>
                </a:lnTo>
                <a:lnTo>
                  <a:pt x="3342" y="1079"/>
                </a:lnTo>
                <a:lnTo>
                  <a:pt x="3343" y="1078"/>
                </a:lnTo>
                <a:lnTo>
                  <a:pt x="3346" y="1077"/>
                </a:lnTo>
                <a:lnTo>
                  <a:pt x="3348" y="1075"/>
                </a:lnTo>
                <a:lnTo>
                  <a:pt x="3351" y="1074"/>
                </a:lnTo>
                <a:lnTo>
                  <a:pt x="3355" y="1073"/>
                </a:lnTo>
                <a:lnTo>
                  <a:pt x="3365" y="1072"/>
                </a:lnTo>
                <a:lnTo>
                  <a:pt x="3367" y="1073"/>
                </a:lnTo>
                <a:lnTo>
                  <a:pt x="3371" y="1078"/>
                </a:lnTo>
                <a:lnTo>
                  <a:pt x="3371" y="1081"/>
                </a:lnTo>
                <a:lnTo>
                  <a:pt x="3371" y="1086"/>
                </a:lnTo>
                <a:lnTo>
                  <a:pt x="3371" y="1095"/>
                </a:lnTo>
                <a:lnTo>
                  <a:pt x="3371" y="1133"/>
                </a:lnTo>
                <a:lnTo>
                  <a:pt x="3371" y="1239"/>
                </a:lnTo>
                <a:lnTo>
                  <a:pt x="3371" y="1274"/>
                </a:lnTo>
                <a:lnTo>
                  <a:pt x="3372" y="1291"/>
                </a:lnTo>
                <a:lnTo>
                  <a:pt x="3372" y="1294"/>
                </a:lnTo>
                <a:lnTo>
                  <a:pt x="3373" y="1296"/>
                </a:lnTo>
                <a:lnTo>
                  <a:pt x="3373" y="1298"/>
                </a:lnTo>
                <a:lnTo>
                  <a:pt x="3375" y="1300"/>
                </a:lnTo>
                <a:lnTo>
                  <a:pt x="3375" y="1301"/>
                </a:lnTo>
                <a:lnTo>
                  <a:pt x="3376" y="1305"/>
                </a:lnTo>
                <a:lnTo>
                  <a:pt x="3377" y="1307"/>
                </a:lnTo>
                <a:lnTo>
                  <a:pt x="3378" y="1308"/>
                </a:lnTo>
                <a:lnTo>
                  <a:pt x="3380" y="1311"/>
                </a:lnTo>
                <a:lnTo>
                  <a:pt x="3381" y="1312"/>
                </a:lnTo>
                <a:lnTo>
                  <a:pt x="3383" y="1315"/>
                </a:lnTo>
                <a:lnTo>
                  <a:pt x="3388" y="1319"/>
                </a:lnTo>
                <a:lnTo>
                  <a:pt x="3389" y="1321"/>
                </a:lnTo>
                <a:lnTo>
                  <a:pt x="3390" y="1322"/>
                </a:lnTo>
                <a:lnTo>
                  <a:pt x="3393" y="1323"/>
                </a:lnTo>
                <a:lnTo>
                  <a:pt x="3394" y="1324"/>
                </a:lnTo>
                <a:lnTo>
                  <a:pt x="3396" y="1326"/>
                </a:lnTo>
                <a:lnTo>
                  <a:pt x="3399" y="1327"/>
                </a:lnTo>
                <a:lnTo>
                  <a:pt x="3401" y="1328"/>
                </a:lnTo>
                <a:lnTo>
                  <a:pt x="3409" y="1330"/>
                </a:lnTo>
                <a:lnTo>
                  <a:pt x="3412" y="1332"/>
                </a:lnTo>
                <a:lnTo>
                  <a:pt x="3417" y="1332"/>
                </a:lnTo>
                <a:lnTo>
                  <a:pt x="3422" y="1332"/>
                </a:lnTo>
                <a:lnTo>
                  <a:pt x="3427" y="1332"/>
                </a:lnTo>
                <a:lnTo>
                  <a:pt x="3435" y="1330"/>
                </a:lnTo>
                <a:lnTo>
                  <a:pt x="3442" y="1328"/>
                </a:lnTo>
                <a:lnTo>
                  <a:pt x="3446" y="1327"/>
                </a:lnTo>
                <a:lnTo>
                  <a:pt x="3450" y="1326"/>
                </a:lnTo>
                <a:lnTo>
                  <a:pt x="3452" y="1324"/>
                </a:lnTo>
                <a:lnTo>
                  <a:pt x="3454" y="1323"/>
                </a:lnTo>
                <a:lnTo>
                  <a:pt x="3456" y="1322"/>
                </a:lnTo>
                <a:lnTo>
                  <a:pt x="3459" y="1321"/>
                </a:lnTo>
                <a:lnTo>
                  <a:pt x="3461" y="1319"/>
                </a:lnTo>
                <a:lnTo>
                  <a:pt x="3462" y="1317"/>
                </a:lnTo>
                <a:lnTo>
                  <a:pt x="3467" y="1313"/>
                </a:lnTo>
                <a:lnTo>
                  <a:pt x="3468" y="1312"/>
                </a:lnTo>
                <a:lnTo>
                  <a:pt x="3473" y="1307"/>
                </a:lnTo>
                <a:lnTo>
                  <a:pt x="3475" y="1305"/>
                </a:lnTo>
                <a:lnTo>
                  <a:pt x="3476" y="1304"/>
                </a:lnTo>
                <a:lnTo>
                  <a:pt x="3476" y="1301"/>
                </a:lnTo>
                <a:lnTo>
                  <a:pt x="3477" y="1298"/>
                </a:lnTo>
                <a:lnTo>
                  <a:pt x="3479" y="1296"/>
                </a:lnTo>
                <a:lnTo>
                  <a:pt x="3480" y="1293"/>
                </a:lnTo>
                <a:lnTo>
                  <a:pt x="3481" y="1291"/>
                </a:lnTo>
                <a:lnTo>
                  <a:pt x="3482" y="1289"/>
                </a:lnTo>
                <a:lnTo>
                  <a:pt x="3482" y="1288"/>
                </a:lnTo>
                <a:lnTo>
                  <a:pt x="3483" y="1285"/>
                </a:lnTo>
                <a:lnTo>
                  <a:pt x="3483" y="1283"/>
                </a:lnTo>
                <a:lnTo>
                  <a:pt x="3486" y="1277"/>
                </a:lnTo>
                <a:lnTo>
                  <a:pt x="3486" y="1269"/>
                </a:lnTo>
                <a:lnTo>
                  <a:pt x="3486" y="1252"/>
                </a:lnTo>
                <a:lnTo>
                  <a:pt x="3486" y="1196"/>
                </a:lnTo>
                <a:lnTo>
                  <a:pt x="3486" y="1146"/>
                </a:lnTo>
                <a:lnTo>
                  <a:pt x="3486" y="1134"/>
                </a:lnTo>
                <a:lnTo>
                  <a:pt x="3486" y="1127"/>
                </a:lnTo>
                <a:lnTo>
                  <a:pt x="3485" y="1122"/>
                </a:lnTo>
                <a:lnTo>
                  <a:pt x="3482" y="1122"/>
                </a:lnTo>
                <a:lnTo>
                  <a:pt x="3480" y="1122"/>
                </a:lnTo>
                <a:lnTo>
                  <a:pt x="3474" y="1122"/>
                </a:lnTo>
                <a:lnTo>
                  <a:pt x="3451" y="1122"/>
                </a:lnTo>
                <a:lnTo>
                  <a:pt x="3448" y="1121"/>
                </a:lnTo>
                <a:lnTo>
                  <a:pt x="3447" y="1118"/>
                </a:lnTo>
                <a:lnTo>
                  <a:pt x="3446" y="1116"/>
                </a:lnTo>
                <a:lnTo>
                  <a:pt x="3445" y="1113"/>
                </a:lnTo>
                <a:lnTo>
                  <a:pt x="3445" y="1110"/>
                </a:lnTo>
                <a:lnTo>
                  <a:pt x="3445" y="1107"/>
                </a:lnTo>
                <a:lnTo>
                  <a:pt x="3446" y="1106"/>
                </a:lnTo>
                <a:lnTo>
                  <a:pt x="3447" y="1105"/>
                </a:lnTo>
                <a:lnTo>
                  <a:pt x="3451" y="1102"/>
                </a:lnTo>
                <a:lnTo>
                  <a:pt x="3452" y="1101"/>
                </a:lnTo>
                <a:lnTo>
                  <a:pt x="3454" y="1100"/>
                </a:lnTo>
                <a:lnTo>
                  <a:pt x="3457" y="1099"/>
                </a:lnTo>
                <a:lnTo>
                  <a:pt x="3459" y="1097"/>
                </a:lnTo>
                <a:lnTo>
                  <a:pt x="3464" y="1095"/>
                </a:lnTo>
                <a:lnTo>
                  <a:pt x="3468" y="1094"/>
                </a:lnTo>
                <a:lnTo>
                  <a:pt x="3470" y="1092"/>
                </a:lnTo>
                <a:lnTo>
                  <a:pt x="3473" y="1091"/>
                </a:lnTo>
                <a:lnTo>
                  <a:pt x="3475" y="1090"/>
                </a:lnTo>
                <a:lnTo>
                  <a:pt x="3477" y="1089"/>
                </a:lnTo>
                <a:lnTo>
                  <a:pt x="3479" y="1088"/>
                </a:lnTo>
                <a:lnTo>
                  <a:pt x="3481" y="1086"/>
                </a:lnTo>
                <a:lnTo>
                  <a:pt x="3483" y="1085"/>
                </a:lnTo>
                <a:lnTo>
                  <a:pt x="3486" y="1084"/>
                </a:lnTo>
                <a:lnTo>
                  <a:pt x="3488" y="1083"/>
                </a:lnTo>
                <a:lnTo>
                  <a:pt x="3491" y="1081"/>
                </a:lnTo>
                <a:lnTo>
                  <a:pt x="3492" y="1080"/>
                </a:lnTo>
                <a:lnTo>
                  <a:pt x="3496" y="1079"/>
                </a:lnTo>
                <a:lnTo>
                  <a:pt x="3498" y="1078"/>
                </a:lnTo>
                <a:lnTo>
                  <a:pt x="3500" y="1077"/>
                </a:lnTo>
                <a:lnTo>
                  <a:pt x="3504" y="1074"/>
                </a:lnTo>
                <a:lnTo>
                  <a:pt x="3506" y="1073"/>
                </a:lnTo>
                <a:lnTo>
                  <a:pt x="3510" y="1073"/>
                </a:lnTo>
                <a:lnTo>
                  <a:pt x="3515" y="1072"/>
                </a:lnTo>
                <a:lnTo>
                  <a:pt x="3517" y="1072"/>
                </a:lnTo>
                <a:lnTo>
                  <a:pt x="3520" y="1072"/>
                </a:lnTo>
                <a:lnTo>
                  <a:pt x="3523" y="1074"/>
                </a:lnTo>
                <a:lnTo>
                  <a:pt x="3525" y="1075"/>
                </a:lnTo>
                <a:lnTo>
                  <a:pt x="3525" y="1077"/>
                </a:lnTo>
                <a:lnTo>
                  <a:pt x="3526" y="1080"/>
                </a:lnTo>
                <a:lnTo>
                  <a:pt x="3527" y="1086"/>
                </a:lnTo>
                <a:lnTo>
                  <a:pt x="3526" y="1097"/>
                </a:lnTo>
                <a:lnTo>
                  <a:pt x="3526" y="1144"/>
                </a:lnTo>
                <a:lnTo>
                  <a:pt x="3526" y="1263"/>
                </a:lnTo>
                <a:lnTo>
                  <a:pt x="3526" y="1301"/>
                </a:lnTo>
                <a:lnTo>
                  <a:pt x="3526" y="1323"/>
                </a:lnTo>
                <a:lnTo>
                  <a:pt x="3527" y="1327"/>
                </a:lnTo>
                <a:lnTo>
                  <a:pt x="3531" y="1329"/>
                </a:lnTo>
                <a:lnTo>
                  <a:pt x="3533" y="1330"/>
                </a:lnTo>
                <a:lnTo>
                  <a:pt x="3538" y="1332"/>
                </a:lnTo>
                <a:lnTo>
                  <a:pt x="3545" y="1334"/>
                </a:lnTo>
                <a:lnTo>
                  <a:pt x="3548" y="1335"/>
                </a:lnTo>
                <a:lnTo>
                  <a:pt x="3549" y="1335"/>
                </a:lnTo>
                <a:lnTo>
                  <a:pt x="3550" y="1337"/>
                </a:lnTo>
                <a:lnTo>
                  <a:pt x="3552" y="1337"/>
                </a:lnTo>
                <a:lnTo>
                  <a:pt x="3554" y="1337"/>
                </a:lnTo>
                <a:lnTo>
                  <a:pt x="3556" y="1338"/>
                </a:lnTo>
                <a:lnTo>
                  <a:pt x="3557" y="1338"/>
                </a:lnTo>
                <a:lnTo>
                  <a:pt x="3562" y="1340"/>
                </a:lnTo>
                <a:lnTo>
                  <a:pt x="3564" y="1343"/>
                </a:lnTo>
                <a:lnTo>
                  <a:pt x="3566" y="1344"/>
                </a:lnTo>
                <a:lnTo>
                  <a:pt x="3567" y="1349"/>
                </a:lnTo>
                <a:lnTo>
                  <a:pt x="3568" y="1352"/>
                </a:lnTo>
                <a:lnTo>
                  <a:pt x="3567" y="1355"/>
                </a:lnTo>
                <a:lnTo>
                  <a:pt x="3567" y="1356"/>
                </a:lnTo>
                <a:lnTo>
                  <a:pt x="3566" y="1359"/>
                </a:lnTo>
                <a:lnTo>
                  <a:pt x="3563" y="1361"/>
                </a:lnTo>
                <a:lnTo>
                  <a:pt x="3562" y="1362"/>
                </a:lnTo>
                <a:lnTo>
                  <a:pt x="3560" y="1362"/>
                </a:lnTo>
                <a:lnTo>
                  <a:pt x="3558" y="1363"/>
                </a:lnTo>
                <a:lnTo>
                  <a:pt x="3554" y="1365"/>
                </a:lnTo>
                <a:lnTo>
                  <a:pt x="3548" y="1365"/>
                </a:lnTo>
                <a:lnTo>
                  <a:pt x="3535" y="1365"/>
                </a:lnTo>
                <a:lnTo>
                  <a:pt x="3486" y="1365"/>
                </a:lnTo>
                <a:close/>
                <a:moveTo>
                  <a:pt x="3228" y="1084"/>
                </a:moveTo>
                <a:lnTo>
                  <a:pt x="3231" y="1118"/>
                </a:lnTo>
                <a:lnTo>
                  <a:pt x="3231" y="1124"/>
                </a:lnTo>
                <a:lnTo>
                  <a:pt x="3232" y="1130"/>
                </a:lnTo>
                <a:lnTo>
                  <a:pt x="3233" y="1140"/>
                </a:lnTo>
                <a:lnTo>
                  <a:pt x="3232" y="1143"/>
                </a:lnTo>
                <a:lnTo>
                  <a:pt x="3232" y="1144"/>
                </a:lnTo>
                <a:lnTo>
                  <a:pt x="3231" y="1146"/>
                </a:lnTo>
                <a:lnTo>
                  <a:pt x="3228" y="1149"/>
                </a:lnTo>
                <a:lnTo>
                  <a:pt x="3226" y="1150"/>
                </a:lnTo>
                <a:lnTo>
                  <a:pt x="3221" y="1151"/>
                </a:lnTo>
                <a:lnTo>
                  <a:pt x="3220" y="1152"/>
                </a:lnTo>
                <a:lnTo>
                  <a:pt x="3218" y="1152"/>
                </a:lnTo>
                <a:lnTo>
                  <a:pt x="3214" y="1151"/>
                </a:lnTo>
                <a:lnTo>
                  <a:pt x="3210" y="1150"/>
                </a:lnTo>
                <a:lnTo>
                  <a:pt x="3208" y="1149"/>
                </a:lnTo>
                <a:lnTo>
                  <a:pt x="3207" y="1147"/>
                </a:lnTo>
                <a:lnTo>
                  <a:pt x="3204" y="1145"/>
                </a:lnTo>
                <a:lnTo>
                  <a:pt x="3203" y="1144"/>
                </a:lnTo>
                <a:lnTo>
                  <a:pt x="3202" y="1141"/>
                </a:lnTo>
                <a:lnTo>
                  <a:pt x="3199" y="1134"/>
                </a:lnTo>
                <a:lnTo>
                  <a:pt x="3198" y="1130"/>
                </a:lnTo>
                <a:lnTo>
                  <a:pt x="3197" y="1129"/>
                </a:lnTo>
                <a:lnTo>
                  <a:pt x="3196" y="1124"/>
                </a:lnTo>
                <a:lnTo>
                  <a:pt x="3195" y="1121"/>
                </a:lnTo>
                <a:lnTo>
                  <a:pt x="3193" y="1118"/>
                </a:lnTo>
                <a:lnTo>
                  <a:pt x="3192" y="1116"/>
                </a:lnTo>
                <a:lnTo>
                  <a:pt x="3190" y="1111"/>
                </a:lnTo>
                <a:lnTo>
                  <a:pt x="3189" y="1110"/>
                </a:lnTo>
                <a:lnTo>
                  <a:pt x="3186" y="1107"/>
                </a:lnTo>
                <a:lnTo>
                  <a:pt x="3184" y="1105"/>
                </a:lnTo>
                <a:lnTo>
                  <a:pt x="3179" y="1102"/>
                </a:lnTo>
                <a:lnTo>
                  <a:pt x="3174" y="1101"/>
                </a:lnTo>
                <a:lnTo>
                  <a:pt x="3169" y="1101"/>
                </a:lnTo>
                <a:lnTo>
                  <a:pt x="3164" y="1100"/>
                </a:lnTo>
                <a:lnTo>
                  <a:pt x="3160" y="1101"/>
                </a:lnTo>
                <a:lnTo>
                  <a:pt x="3155" y="1102"/>
                </a:lnTo>
                <a:lnTo>
                  <a:pt x="3152" y="1102"/>
                </a:lnTo>
                <a:lnTo>
                  <a:pt x="3149" y="1102"/>
                </a:lnTo>
                <a:lnTo>
                  <a:pt x="3143" y="1106"/>
                </a:lnTo>
                <a:lnTo>
                  <a:pt x="3139" y="1107"/>
                </a:lnTo>
                <a:lnTo>
                  <a:pt x="3138" y="1108"/>
                </a:lnTo>
                <a:lnTo>
                  <a:pt x="3135" y="1111"/>
                </a:lnTo>
                <a:lnTo>
                  <a:pt x="3131" y="1116"/>
                </a:lnTo>
                <a:lnTo>
                  <a:pt x="3129" y="1117"/>
                </a:lnTo>
                <a:lnTo>
                  <a:pt x="3128" y="1118"/>
                </a:lnTo>
                <a:lnTo>
                  <a:pt x="3127" y="1119"/>
                </a:lnTo>
                <a:lnTo>
                  <a:pt x="3126" y="1122"/>
                </a:lnTo>
                <a:lnTo>
                  <a:pt x="3124" y="1125"/>
                </a:lnTo>
                <a:lnTo>
                  <a:pt x="3124" y="1127"/>
                </a:lnTo>
                <a:lnTo>
                  <a:pt x="3121" y="1139"/>
                </a:lnTo>
                <a:lnTo>
                  <a:pt x="3121" y="1143"/>
                </a:lnTo>
                <a:lnTo>
                  <a:pt x="3121" y="1149"/>
                </a:lnTo>
                <a:lnTo>
                  <a:pt x="3123" y="1157"/>
                </a:lnTo>
                <a:lnTo>
                  <a:pt x="3124" y="1160"/>
                </a:lnTo>
                <a:lnTo>
                  <a:pt x="3126" y="1161"/>
                </a:lnTo>
                <a:lnTo>
                  <a:pt x="3127" y="1163"/>
                </a:lnTo>
                <a:lnTo>
                  <a:pt x="3129" y="1166"/>
                </a:lnTo>
                <a:lnTo>
                  <a:pt x="3132" y="1169"/>
                </a:lnTo>
                <a:lnTo>
                  <a:pt x="3137" y="1174"/>
                </a:lnTo>
                <a:lnTo>
                  <a:pt x="3139" y="1177"/>
                </a:lnTo>
                <a:lnTo>
                  <a:pt x="3141" y="1178"/>
                </a:lnTo>
                <a:lnTo>
                  <a:pt x="3144" y="1179"/>
                </a:lnTo>
                <a:lnTo>
                  <a:pt x="3145" y="1180"/>
                </a:lnTo>
                <a:lnTo>
                  <a:pt x="3146" y="1182"/>
                </a:lnTo>
                <a:lnTo>
                  <a:pt x="3149" y="1183"/>
                </a:lnTo>
                <a:lnTo>
                  <a:pt x="3151" y="1184"/>
                </a:lnTo>
                <a:lnTo>
                  <a:pt x="3154" y="1185"/>
                </a:lnTo>
                <a:lnTo>
                  <a:pt x="3157" y="1188"/>
                </a:lnTo>
                <a:lnTo>
                  <a:pt x="3161" y="1190"/>
                </a:lnTo>
                <a:lnTo>
                  <a:pt x="3164" y="1191"/>
                </a:lnTo>
                <a:lnTo>
                  <a:pt x="3167" y="1193"/>
                </a:lnTo>
                <a:lnTo>
                  <a:pt x="3169" y="1194"/>
                </a:lnTo>
                <a:lnTo>
                  <a:pt x="3170" y="1196"/>
                </a:lnTo>
                <a:lnTo>
                  <a:pt x="3173" y="1196"/>
                </a:lnTo>
                <a:lnTo>
                  <a:pt x="3175" y="1197"/>
                </a:lnTo>
                <a:lnTo>
                  <a:pt x="3176" y="1200"/>
                </a:lnTo>
                <a:lnTo>
                  <a:pt x="3179" y="1200"/>
                </a:lnTo>
                <a:lnTo>
                  <a:pt x="3181" y="1201"/>
                </a:lnTo>
                <a:lnTo>
                  <a:pt x="3184" y="1202"/>
                </a:lnTo>
                <a:lnTo>
                  <a:pt x="3186" y="1204"/>
                </a:lnTo>
                <a:lnTo>
                  <a:pt x="3187" y="1205"/>
                </a:lnTo>
                <a:lnTo>
                  <a:pt x="3190" y="1206"/>
                </a:lnTo>
                <a:lnTo>
                  <a:pt x="3193" y="1208"/>
                </a:lnTo>
                <a:lnTo>
                  <a:pt x="3196" y="1210"/>
                </a:lnTo>
                <a:lnTo>
                  <a:pt x="3198" y="1211"/>
                </a:lnTo>
                <a:lnTo>
                  <a:pt x="3202" y="1213"/>
                </a:lnTo>
                <a:lnTo>
                  <a:pt x="3203" y="1215"/>
                </a:lnTo>
                <a:lnTo>
                  <a:pt x="3204" y="1216"/>
                </a:lnTo>
                <a:lnTo>
                  <a:pt x="3207" y="1217"/>
                </a:lnTo>
                <a:lnTo>
                  <a:pt x="3208" y="1218"/>
                </a:lnTo>
                <a:lnTo>
                  <a:pt x="3209" y="1219"/>
                </a:lnTo>
                <a:lnTo>
                  <a:pt x="3212" y="1221"/>
                </a:lnTo>
                <a:lnTo>
                  <a:pt x="3213" y="1221"/>
                </a:lnTo>
                <a:lnTo>
                  <a:pt x="3214" y="1223"/>
                </a:lnTo>
                <a:lnTo>
                  <a:pt x="3218" y="1225"/>
                </a:lnTo>
                <a:lnTo>
                  <a:pt x="3227" y="1235"/>
                </a:lnTo>
                <a:lnTo>
                  <a:pt x="3231" y="1238"/>
                </a:lnTo>
                <a:lnTo>
                  <a:pt x="3232" y="1240"/>
                </a:lnTo>
                <a:lnTo>
                  <a:pt x="3234" y="1243"/>
                </a:lnTo>
                <a:lnTo>
                  <a:pt x="3236" y="1245"/>
                </a:lnTo>
                <a:lnTo>
                  <a:pt x="3237" y="1246"/>
                </a:lnTo>
                <a:lnTo>
                  <a:pt x="3237" y="1249"/>
                </a:lnTo>
                <a:lnTo>
                  <a:pt x="3239" y="1251"/>
                </a:lnTo>
                <a:lnTo>
                  <a:pt x="3241" y="1254"/>
                </a:lnTo>
                <a:lnTo>
                  <a:pt x="3241" y="1256"/>
                </a:lnTo>
                <a:lnTo>
                  <a:pt x="3243" y="1260"/>
                </a:lnTo>
                <a:lnTo>
                  <a:pt x="3243" y="1262"/>
                </a:lnTo>
                <a:lnTo>
                  <a:pt x="3244" y="1263"/>
                </a:lnTo>
                <a:lnTo>
                  <a:pt x="3244" y="1266"/>
                </a:lnTo>
                <a:lnTo>
                  <a:pt x="3245" y="1274"/>
                </a:lnTo>
                <a:lnTo>
                  <a:pt x="3247" y="1283"/>
                </a:lnTo>
                <a:lnTo>
                  <a:pt x="3245" y="1288"/>
                </a:lnTo>
                <a:lnTo>
                  <a:pt x="3245" y="1293"/>
                </a:lnTo>
                <a:lnTo>
                  <a:pt x="3244" y="1296"/>
                </a:lnTo>
                <a:lnTo>
                  <a:pt x="3244" y="1300"/>
                </a:lnTo>
                <a:lnTo>
                  <a:pt x="3243" y="1305"/>
                </a:lnTo>
                <a:lnTo>
                  <a:pt x="3239" y="1315"/>
                </a:lnTo>
                <a:lnTo>
                  <a:pt x="3234" y="1323"/>
                </a:lnTo>
                <a:lnTo>
                  <a:pt x="3230" y="1332"/>
                </a:lnTo>
                <a:lnTo>
                  <a:pt x="3226" y="1335"/>
                </a:lnTo>
                <a:lnTo>
                  <a:pt x="3224" y="1339"/>
                </a:lnTo>
                <a:lnTo>
                  <a:pt x="3216" y="1346"/>
                </a:lnTo>
                <a:lnTo>
                  <a:pt x="3209" y="1352"/>
                </a:lnTo>
                <a:lnTo>
                  <a:pt x="3201" y="1357"/>
                </a:lnTo>
                <a:lnTo>
                  <a:pt x="3191" y="1362"/>
                </a:lnTo>
                <a:lnTo>
                  <a:pt x="3173" y="1367"/>
                </a:lnTo>
                <a:lnTo>
                  <a:pt x="3164" y="1367"/>
                </a:lnTo>
                <a:lnTo>
                  <a:pt x="3145" y="1368"/>
                </a:lnTo>
                <a:lnTo>
                  <a:pt x="3132" y="1368"/>
                </a:lnTo>
                <a:lnTo>
                  <a:pt x="3118" y="1366"/>
                </a:lnTo>
                <a:lnTo>
                  <a:pt x="3108" y="1365"/>
                </a:lnTo>
                <a:lnTo>
                  <a:pt x="3097" y="1361"/>
                </a:lnTo>
                <a:lnTo>
                  <a:pt x="3094" y="1361"/>
                </a:lnTo>
                <a:lnTo>
                  <a:pt x="3092" y="1360"/>
                </a:lnTo>
                <a:lnTo>
                  <a:pt x="3088" y="1359"/>
                </a:lnTo>
                <a:lnTo>
                  <a:pt x="3086" y="1356"/>
                </a:lnTo>
                <a:lnTo>
                  <a:pt x="3083" y="1355"/>
                </a:lnTo>
                <a:lnTo>
                  <a:pt x="3081" y="1354"/>
                </a:lnTo>
                <a:lnTo>
                  <a:pt x="3081" y="1350"/>
                </a:lnTo>
                <a:lnTo>
                  <a:pt x="3080" y="1349"/>
                </a:lnTo>
                <a:lnTo>
                  <a:pt x="3080" y="1348"/>
                </a:lnTo>
                <a:lnTo>
                  <a:pt x="3080" y="1344"/>
                </a:lnTo>
                <a:lnTo>
                  <a:pt x="3080" y="1338"/>
                </a:lnTo>
                <a:lnTo>
                  <a:pt x="3079" y="1332"/>
                </a:lnTo>
                <a:lnTo>
                  <a:pt x="3079" y="1326"/>
                </a:lnTo>
                <a:lnTo>
                  <a:pt x="3077" y="1319"/>
                </a:lnTo>
                <a:lnTo>
                  <a:pt x="3077" y="1312"/>
                </a:lnTo>
                <a:lnTo>
                  <a:pt x="3076" y="1307"/>
                </a:lnTo>
                <a:lnTo>
                  <a:pt x="3076" y="1301"/>
                </a:lnTo>
                <a:lnTo>
                  <a:pt x="3075" y="1283"/>
                </a:lnTo>
                <a:lnTo>
                  <a:pt x="3075" y="1282"/>
                </a:lnTo>
                <a:lnTo>
                  <a:pt x="3076" y="1279"/>
                </a:lnTo>
                <a:lnTo>
                  <a:pt x="3077" y="1278"/>
                </a:lnTo>
                <a:lnTo>
                  <a:pt x="3079" y="1276"/>
                </a:lnTo>
                <a:lnTo>
                  <a:pt x="3080" y="1274"/>
                </a:lnTo>
                <a:lnTo>
                  <a:pt x="3082" y="1273"/>
                </a:lnTo>
                <a:lnTo>
                  <a:pt x="3086" y="1272"/>
                </a:lnTo>
                <a:lnTo>
                  <a:pt x="3091" y="1271"/>
                </a:lnTo>
                <a:lnTo>
                  <a:pt x="3094" y="1271"/>
                </a:lnTo>
                <a:lnTo>
                  <a:pt x="3097" y="1272"/>
                </a:lnTo>
                <a:lnTo>
                  <a:pt x="3099" y="1273"/>
                </a:lnTo>
                <a:lnTo>
                  <a:pt x="3102" y="1277"/>
                </a:lnTo>
                <a:lnTo>
                  <a:pt x="3104" y="1278"/>
                </a:lnTo>
                <a:lnTo>
                  <a:pt x="3104" y="1280"/>
                </a:lnTo>
                <a:lnTo>
                  <a:pt x="3105" y="1283"/>
                </a:lnTo>
                <a:lnTo>
                  <a:pt x="3108" y="1287"/>
                </a:lnTo>
                <a:lnTo>
                  <a:pt x="3108" y="1288"/>
                </a:lnTo>
                <a:lnTo>
                  <a:pt x="3109" y="1291"/>
                </a:lnTo>
                <a:lnTo>
                  <a:pt x="3111" y="1295"/>
                </a:lnTo>
                <a:lnTo>
                  <a:pt x="3112" y="1299"/>
                </a:lnTo>
                <a:lnTo>
                  <a:pt x="3114" y="1301"/>
                </a:lnTo>
                <a:lnTo>
                  <a:pt x="3115" y="1305"/>
                </a:lnTo>
                <a:lnTo>
                  <a:pt x="3115" y="1307"/>
                </a:lnTo>
                <a:lnTo>
                  <a:pt x="3116" y="1310"/>
                </a:lnTo>
                <a:lnTo>
                  <a:pt x="3117" y="1313"/>
                </a:lnTo>
                <a:lnTo>
                  <a:pt x="3120" y="1317"/>
                </a:lnTo>
                <a:lnTo>
                  <a:pt x="3120" y="1319"/>
                </a:lnTo>
                <a:lnTo>
                  <a:pt x="3121" y="1322"/>
                </a:lnTo>
                <a:lnTo>
                  <a:pt x="3122" y="1324"/>
                </a:lnTo>
                <a:lnTo>
                  <a:pt x="3123" y="1328"/>
                </a:lnTo>
                <a:lnTo>
                  <a:pt x="3128" y="1332"/>
                </a:lnTo>
                <a:lnTo>
                  <a:pt x="3129" y="1333"/>
                </a:lnTo>
                <a:lnTo>
                  <a:pt x="3132" y="1334"/>
                </a:lnTo>
                <a:lnTo>
                  <a:pt x="3133" y="1335"/>
                </a:lnTo>
                <a:lnTo>
                  <a:pt x="3144" y="1339"/>
                </a:lnTo>
                <a:lnTo>
                  <a:pt x="3147" y="1339"/>
                </a:lnTo>
                <a:lnTo>
                  <a:pt x="3151" y="1339"/>
                </a:lnTo>
                <a:lnTo>
                  <a:pt x="3156" y="1339"/>
                </a:lnTo>
                <a:lnTo>
                  <a:pt x="3164" y="1338"/>
                </a:lnTo>
                <a:lnTo>
                  <a:pt x="3174" y="1335"/>
                </a:lnTo>
                <a:lnTo>
                  <a:pt x="3178" y="1334"/>
                </a:lnTo>
                <a:lnTo>
                  <a:pt x="3181" y="1332"/>
                </a:lnTo>
                <a:lnTo>
                  <a:pt x="3183" y="1330"/>
                </a:lnTo>
                <a:lnTo>
                  <a:pt x="3185" y="1329"/>
                </a:lnTo>
                <a:lnTo>
                  <a:pt x="3186" y="1328"/>
                </a:lnTo>
                <a:lnTo>
                  <a:pt x="3191" y="1323"/>
                </a:lnTo>
                <a:lnTo>
                  <a:pt x="3193" y="1322"/>
                </a:lnTo>
                <a:lnTo>
                  <a:pt x="3195" y="1319"/>
                </a:lnTo>
                <a:lnTo>
                  <a:pt x="3196" y="1317"/>
                </a:lnTo>
                <a:lnTo>
                  <a:pt x="3197" y="1315"/>
                </a:lnTo>
                <a:lnTo>
                  <a:pt x="3198" y="1313"/>
                </a:lnTo>
                <a:lnTo>
                  <a:pt x="3199" y="1311"/>
                </a:lnTo>
                <a:lnTo>
                  <a:pt x="3199" y="1308"/>
                </a:lnTo>
                <a:lnTo>
                  <a:pt x="3202" y="1304"/>
                </a:lnTo>
                <a:lnTo>
                  <a:pt x="3203" y="1296"/>
                </a:lnTo>
                <a:lnTo>
                  <a:pt x="3204" y="1288"/>
                </a:lnTo>
                <a:lnTo>
                  <a:pt x="3203" y="1285"/>
                </a:lnTo>
                <a:lnTo>
                  <a:pt x="3203" y="1282"/>
                </a:lnTo>
                <a:lnTo>
                  <a:pt x="3203" y="1279"/>
                </a:lnTo>
                <a:lnTo>
                  <a:pt x="3201" y="1272"/>
                </a:lnTo>
                <a:lnTo>
                  <a:pt x="3196" y="1266"/>
                </a:lnTo>
                <a:lnTo>
                  <a:pt x="3192" y="1261"/>
                </a:lnTo>
                <a:lnTo>
                  <a:pt x="3186" y="1255"/>
                </a:lnTo>
                <a:lnTo>
                  <a:pt x="3175" y="1246"/>
                </a:lnTo>
                <a:lnTo>
                  <a:pt x="3163" y="1239"/>
                </a:lnTo>
                <a:lnTo>
                  <a:pt x="3161" y="1238"/>
                </a:lnTo>
                <a:lnTo>
                  <a:pt x="3158" y="1236"/>
                </a:lnTo>
                <a:lnTo>
                  <a:pt x="3157" y="1235"/>
                </a:lnTo>
                <a:lnTo>
                  <a:pt x="3155" y="1234"/>
                </a:lnTo>
                <a:lnTo>
                  <a:pt x="3152" y="1234"/>
                </a:lnTo>
                <a:lnTo>
                  <a:pt x="3150" y="1233"/>
                </a:lnTo>
                <a:lnTo>
                  <a:pt x="3147" y="1232"/>
                </a:lnTo>
                <a:lnTo>
                  <a:pt x="3145" y="1230"/>
                </a:lnTo>
                <a:lnTo>
                  <a:pt x="3144" y="1229"/>
                </a:lnTo>
                <a:lnTo>
                  <a:pt x="3141" y="1228"/>
                </a:lnTo>
                <a:lnTo>
                  <a:pt x="3140" y="1225"/>
                </a:lnTo>
                <a:lnTo>
                  <a:pt x="3137" y="1224"/>
                </a:lnTo>
                <a:lnTo>
                  <a:pt x="3132" y="1222"/>
                </a:lnTo>
                <a:lnTo>
                  <a:pt x="3129" y="1221"/>
                </a:lnTo>
                <a:lnTo>
                  <a:pt x="3127" y="1219"/>
                </a:lnTo>
                <a:lnTo>
                  <a:pt x="3124" y="1218"/>
                </a:lnTo>
                <a:lnTo>
                  <a:pt x="3123" y="1217"/>
                </a:lnTo>
                <a:lnTo>
                  <a:pt x="3121" y="1216"/>
                </a:lnTo>
                <a:lnTo>
                  <a:pt x="3120" y="1215"/>
                </a:lnTo>
                <a:lnTo>
                  <a:pt x="3117" y="1213"/>
                </a:lnTo>
                <a:lnTo>
                  <a:pt x="3116" y="1212"/>
                </a:lnTo>
                <a:lnTo>
                  <a:pt x="3115" y="1211"/>
                </a:lnTo>
                <a:lnTo>
                  <a:pt x="3112" y="1208"/>
                </a:lnTo>
                <a:lnTo>
                  <a:pt x="3110" y="1206"/>
                </a:lnTo>
                <a:lnTo>
                  <a:pt x="3102" y="1200"/>
                </a:lnTo>
                <a:lnTo>
                  <a:pt x="3098" y="1196"/>
                </a:lnTo>
                <a:lnTo>
                  <a:pt x="3094" y="1191"/>
                </a:lnTo>
                <a:lnTo>
                  <a:pt x="3091" y="1188"/>
                </a:lnTo>
                <a:lnTo>
                  <a:pt x="3088" y="1183"/>
                </a:lnTo>
                <a:lnTo>
                  <a:pt x="3083" y="1173"/>
                </a:lnTo>
                <a:lnTo>
                  <a:pt x="3083" y="1171"/>
                </a:lnTo>
                <a:lnTo>
                  <a:pt x="3082" y="1169"/>
                </a:lnTo>
                <a:lnTo>
                  <a:pt x="3082" y="1167"/>
                </a:lnTo>
                <a:lnTo>
                  <a:pt x="3081" y="1166"/>
                </a:lnTo>
                <a:lnTo>
                  <a:pt x="3081" y="1162"/>
                </a:lnTo>
                <a:lnTo>
                  <a:pt x="3080" y="1161"/>
                </a:lnTo>
                <a:lnTo>
                  <a:pt x="3080" y="1156"/>
                </a:lnTo>
                <a:lnTo>
                  <a:pt x="3079" y="1150"/>
                </a:lnTo>
                <a:lnTo>
                  <a:pt x="3079" y="1143"/>
                </a:lnTo>
                <a:lnTo>
                  <a:pt x="3079" y="1135"/>
                </a:lnTo>
                <a:lnTo>
                  <a:pt x="3080" y="1132"/>
                </a:lnTo>
                <a:lnTo>
                  <a:pt x="3080" y="1129"/>
                </a:lnTo>
                <a:lnTo>
                  <a:pt x="3081" y="1127"/>
                </a:lnTo>
                <a:lnTo>
                  <a:pt x="3081" y="1124"/>
                </a:lnTo>
                <a:lnTo>
                  <a:pt x="3082" y="1123"/>
                </a:lnTo>
                <a:lnTo>
                  <a:pt x="3083" y="1119"/>
                </a:lnTo>
                <a:lnTo>
                  <a:pt x="3085" y="1117"/>
                </a:lnTo>
                <a:lnTo>
                  <a:pt x="3086" y="1114"/>
                </a:lnTo>
                <a:lnTo>
                  <a:pt x="3086" y="1112"/>
                </a:lnTo>
                <a:lnTo>
                  <a:pt x="3088" y="1108"/>
                </a:lnTo>
                <a:lnTo>
                  <a:pt x="3089" y="1107"/>
                </a:lnTo>
                <a:lnTo>
                  <a:pt x="3091" y="1105"/>
                </a:lnTo>
                <a:lnTo>
                  <a:pt x="3092" y="1103"/>
                </a:lnTo>
                <a:lnTo>
                  <a:pt x="3097" y="1100"/>
                </a:lnTo>
                <a:lnTo>
                  <a:pt x="3098" y="1096"/>
                </a:lnTo>
                <a:lnTo>
                  <a:pt x="3103" y="1092"/>
                </a:lnTo>
                <a:lnTo>
                  <a:pt x="3105" y="1090"/>
                </a:lnTo>
                <a:lnTo>
                  <a:pt x="3108" y="1089"/>
                </a:lnTo>
                <a:lnTo>
                  <a:pt x="3109" y="1088"/>
                </a:lnTo>
                <a:lnTo>
                  <a:pt x="3111" y="1088"/>
                </a:lnTo>
                <a:lnTo>
                  <a:pt x="3114" y="1086"/>
                </a:lnTo>
                <a:lnTo>
                  <a:pt x="3115" y="1085"/>
                </a:lnTo>
                <a:lnTo>
                  <a:pt x="3117" y="1084"/>
                </a:lnTo>
                <a:lnTo>
                  <a:pt x="3122" y="1081"/>
                </a:lnTo>
                <a:lnTo>
                  <a:pt x="3124" y="1080"/>
                </a:lnTo>
                <a:lnTo>
                  <a:pt x="3129" y="1079"/>
                </a:lnTo>
                <a:lnTo>
                  <a:pt x="3131" y="1078"/>
                </a:lnTo>
                <a:lnTo>
                  <a:pt x="3132" y="1078"/>
                </a:lnTo>
                <a:lnTo>
                  <a:pt x="3134" y="1077"/>
                </a:lnTo>
                <a:lnTo>
                  <a:pt x="3135" y="1077"/>
                </a:lnTo>
                <a:lnTo>
                  <a:pt x="3138" y="1075"/>
                </a:lnTo>
                <a:lnTo>
                  <a:pt x="3145" y="1074"/>
                </a:lnTo>
                <a:lnTo>
                  <a:pt x="3150" y="1073"/>
                </a:lnTo>
                <a:lnTo>
                  <a:pt x="3154" y="1073"/>
                </a:lnTo>
                <a:lnTo>
                  <a:pt x="3158" y="1073"/>
                </a:lnTo>
                <a:lnTo>
                  <a:pt x="3164" y="1072"/>
                </a:lnTo>
                <a:lnTo>
                  <a:pt x="3173" y="1072"/>
                </a:lnTo>
                <a:lnTo>
                  <a:pt x="3180" y="1073"/>
                </a:lnTo>
                <a:lnTo>
                  <a:pt x="3185" y="1073"/>
                </a:lnTo>
                <a:lnTo>
                  <a:pt x="3208" y="1077"/>
                </a:lnTo>
                <a:lnTo>
                  <a:pt x="3228" y="1084"/>
                </a:lnTo>
                <a:close/>
                <a:moveTo>
                  <a:pt x="2581" y="1072"/>
                </a:moveTo>
                <a:lnTo>
                  <a:pt x="2601" y="1072"/>
                </a:lnTo>
                <a:lnTo>
                  <a:pt x="2610" y="1073"/>
                </a:lnTo>
                <a:lnTo>
                  <a:pt x="2618" y="1075"/>
                </a:lnTo>
                <a:lnTo>
                  <a:pt x="2620" y="1075"/>
                </a:lnTo>
                <a:lnTo>
                  <a:pt x="2622" y="1077"/>
                </a:lnTo>
                <a:lnTo>
                  <a:pt x="2627" y="1078"/>
                </a:lnTo>
                <a:lnTo>
                  <a:pt x="2629" y="1079"/>
                </a:lnTo>
                <a:lnTo>
                  <a:pt x="2631" y="1080"/>
                </a:lnTo>
                <a:lnTo>
                  <a:pt x="2635" y="1081"/>
                </a:lnTo>
                <a:lnTo>
                  <a:pt x="2637" y="1084"/>
                </a:lnTo>
                <a:lnTo>
                  <a:pt x="2642" y="1086"/>
                </a:lnTo>
                <a:lnTo>
                  <a:pt x="2643" y="1088"/>
                </a:lnTo>
                <a:lnTo>
                  <a:pt x="2646" y="1088"/>
                </a:lnTo>
                <a:lnTo>
                  <a:pt x="2647" y="1089"/>
                </a:lnTo>
                <a:lnTo>
                  <a:pt x="2649" y="1090"/>
                </a:lnTo>
                <a:lnTo>
                  <a:pt x="2651" y="1092"/>
                </a:lnTo>
                <a:lnTo>
                  <a:pt x="2653" y="1095"/>
                </a:lnTo>
                <a:lnTo>
                  <a:pt x="2660" y="1100"/>
                </a:lnTo>
                <a:lnTo>
                  <a:pt x="2666" y="1106"/>
                </a:lnTo>
                <a:lnTo>
                  <a:pt x="2672" y="1113"/>
                </a:lnTo>
                <a:lnTo>
                  <a:pt x="2677" y="1121"/>
                </a:lnTo>
                <a:lnTo>
                  <a:pt x="2682" y="1128"/>
                </a:lnTo>
                <a:lnTo>
                  <a:pt x="2687" y="1136"/>
                </a:lnTo>
                <a:lnTo>
                  <a:pt x="2691" y="1145"/>
                </a:lnTo>
                <a:lnTo>
                  <a:pt x="2694" y="1153"/>
                </a:lnTo>
                <a:lnTo>
                  <a:pt x="2695" y="1158"/>
                </a:lnTo>
                <a:lnTo>
                  <a:pt x="2697" y="1161"/>
                </a:lnTo>
                <a:lnTo>
                  <a:pt x="2697" y="1162"/>
                </a:lnTo>
                <a:lnTo>
                  <a:pt x="2698" y="1163"/>
                </a:lnTo>
                <a:lnTo>
                  <a:pt x="2698" y="1166"/>
                </a:lnTo>
                <a:lnTo>
                  <a:pt x="2700" y="1172"/>
                </a:lnTo>
                <a:lnTo>
                  <a:pt x="2700" y="1174"/>
                </a:lnTo>
                <a:lnTo>
                  <a:pt x="2703" y="1183"/>
                </a:lnTo>
                <a:lnTo>
                  <a:pt x="2704" y="1190"/>
                </a:lnTo>
                <a:lnTo>
                  <a:pt x="2705" y="1199"/>
                </a:lnTo>
                <a:lnTo>
                  <a:pt x="2705" y="1208"/>
                </a:lnTo>
                <a:lnTo>
                  <a:pt x="2706" y="1217"/>
                </a:lnTo>
                <a:lnTo>
                  <a:pt x="2706" y="1225"/>
                </a:lnTo>
                <a:lnTo>
                  <a:pt x="2706" y="1229"/>
                </a:lnTo>
                <a:lnTo>
                  <a:pt x="2705" y="1233"/>
                </a:lnTo>
                <a:lnTo>
                  <a:pt x="2705" y="1246"/>
                </a:lnTo>
                <a:lnTo>
                  <a:pt x="2704" y="1250"/>
                </a:lnTo>
                <a:lnTo>
                  <a:pt x="2704" y="1255"/>
                </a:lnTo>
                <a:lnTo>
                  <a:pt x="2703" y="1258"/>
                </a:lnTo>
                <a:lnTo>
                  <a:pt x="2701" y="1267"/>
                </a:lnTo>
                <a:lnTo>
                  <a:pt x="2700" y="1272"/>
                </a:lnTo>
                <a:lnTo>
                  <a:pt x="2699" y="1276"/>
                </a:lnTo>
                <a:lnTo>
                  <a:pt x="2698" y="1278"/>
                </a:lnTo>
                <a:lnTo>
                  <a:pt x="2698" y="1279"/>
                </a:lnTo>
                <a:lnTo>
                  <a:pt x="2697" y="1282"/>
                </a:lnTo>
                <a:lnTo>
                  <a:pt x="2697" y="1283"/>
                </a:lnTo>
                <a:lnTo>
                  <a:pt x="2695" y="1285"/>
                </a:lnTo>
                <a:lnTo>
                  <a:pt x="2695" y="1287"/>
                </a:lnTo>
                <a:lnTo>
                  <a:pt x="2694" y="1290"/>
                </a:lnTo>
                <a:lnTo>
                  <a:pt x="2693" y="1293"/>
                </a:lnTo>
                <a:lnTo>
                  <a:pt x="2692" y="1295"/>
                </a:lnTo>
                <a:lnTo>
                  <a:pt x="2691" y="1299"/>
                </a:lnTo>
                <a:lnTo>
                  <a:pt x="2688" y="1304"/>
                </a:lnTo>
                <a:lnTo>
                  <a:pt x="2687" y="1305"/>
                </a:lnTo>
                <a:lnTo>
                  <a:pt x="2686" y="1307"/>
                </a:lnTo>
                <a:lnTo>
                  <a:pt x="2685" y="1310"/>
                </a:lnTo>
                <a:lnTo>
                  <a:pt x="2683" y="1312"/>
                </a:lnTo>
                <a:lnTo>
                  <a:pt x="2681" y="1316"/>
                </a:lnTo>
                <a:lnTo>
                  <a:pt x="2680" y="1317"/>
                </a:lnTo>
                <a:lnTo>
                  <a:pt x="2680" y="1319"/>
                </a:lnTo>
                <a:lnTo>
                  <a:pt x="2677" y="1321"/>
                </a:lnTo>
                <a:lnTo>
                  <a:pt x="2676" y="1322"/>
                </a:lnTo>
                <a:lnTo>
                  <a:pt x="2674" y="1324"/>
                </a:lnTo>
                <a:lnTo>
                  <a:pt x="2671" y="1328"/>
                </a:lnTo>
                <a:lnTo>
                  <a:pt x="2665" y="1334"/>
                </a:lnTo>
                <a:lnTo>
                  <a:pt x="2664" y="1337"/>
                </a:lnTo>
                <a:lnTo>
                  <a:pt x="2658" y="1343"/>
                </a:lnTo>
                <a:lnTo>
                  <a:pt x="2654" y="1345"/>
                </a:lnTo>
                <a:lnTo>
                  <a:pt x="2652" y="1348"/>
                </a:lnTo>
                <a:lnTo>
                  <a:pt x="2651" y="1349"/>
                </a:lnTo>
                <a:lnTo>
                  <a:pt x="2648" y="1350"/>
                </a:lnTo>
                <a:lnTo>
                  <a:pt x="2647" y="1351"/>
                </a:lnTo>
                <a:lnTo>
                  <a:pt x="2631" y="1360"/>
                </a:lnTo>
                <a:lnTo>
                  <a:pt x="2629" y="1360"/>
                </a:lnTo>
                <a:lnTo>
                  <a:pt x="2625" y="1362"/>
                </a:lnTo>
                <a:lnTo>
                  <a:pt x="2623" y="1362"/>
                </a:lnTo>
                <a:lnTo>
                  <a:pt x="2622" y="1363"/>
                </a:lnTo>
                <a:lnTo>
                  <a:pt x="2620" y="1363"/>
                </a:lnTo>
                <a:lnTo>
                  <a:pt x="2618" y="1365"/>
                </a:lnTo>
                <a:lnTo>
                  <a:pt x="2616" y="1365"/>
                </a:lnTo>
                <a:lnTo>
                  <a:pt x="2611" y="1366"/>
                </a:lnTo>
                <a:lnTo>
                  <a:pt x="2608" y="1366"/>
                </a:lnTo>
                <a:lnTo>
                  <a:pt x="2606" y="1367"/>
                </a:lnTo>
                <a:lnTo>
                  <a:pt x="2601" y="1367"/>
                </a:lnTo>
                <a:lnTo>
                  <a:pt x="2581" y="1368"/>
                </a:lnTo>
                <a:lnTo>
                  <a:pt x="2568" y="1366"/>
                </a:lnTo>
                <a:lnTo>
                  <a:pt x="2564" y="1366"/>
                </a:lnTo>
                <a:lnTo>
                  <a:pt x="2561" y="1365"/>
                </a:lnTo>
                <a:lnTo>
                  <a:pt x="2559" y="1365"/>
                </a:lnTo>
                <a:lnTo>
                  <a:pt x="2558" y="1363"/>
                </a:lnTo>
                <a:lnTo>
                  <a:pt x="2553" y="1362"/>
                </a:lnTo>
                <a:lnTo>
                  <a:pt x="2549" y="1361"/>
                </a:lnTo>
                <a:lnTo>
                  <a:pt x="2544" y="1359"/>
                </a:lnTo>
                <a:lnTo>
                  <a:pt x="2541" y="1357"/>
                </a:lnTo>
                <a:lnTo>
                  <a:pt x="2537" y="1355"/>
                </a:lnTo>
                <a:lnTo>
                  <a:pt x="2533" y="1352"/>
                </a:lnTo>
                <a:lnTo>
                  <a:pt x="2532" y="1351"/>
                </a:lnTo>
                <a:lnTo>
                  <a:pt x="2530" y="1351"/>
                </a:lnTo>
                <a:lnTo>
                  <a:pt x="2529" y="1350"/>
                </a:lnTo>
                <a:lnTo>
                  <a:pt x="2526" y="1349"/>
                </a:lnTo>
                <a:lnTo>
                  <a:pt x="2525" y="1346"/>
                </a:lnTo>
                <a:lnTo>
                  <a:pt x="2523" y="1344"/>
                </a:lnTo>
                <a:lnTo>
                  <a:pt x="2519" y="1340"/>
                </a:lnTo>
                <a:lnTo>
                  <a:pt x="2517" y="1339"/>
                </a:lnTo>
                <a:lnTo>
                  <a:pt x="2512" y="1335"/>
                </a:lnTo>
                <a:lnTo>
                  <a:pt x="2507" y="1329"/>
                </a:lnTo>
                <a:lnTo>
                  <a:pt x="2504" y="1327"/>
                </a:lnTo>
                <a:lnTo>
                  <a:pt x="2503" y="1324"/>
                </a:lnTo>
                <a:lnTo>
                  <a:pt x="2501" y="1322"/>
                </a:lnTo>
                <a:lnTo>
                  <a:pt x="2500" y="1321"/>
                </a:lnTo>
                <a:lnTo>
                  <a:pt x="2500" y="1318"/>
                </a:lnTo>
                <a:lnTo>
                  <a:pt x="2497" y="1317"/>
                </a:lnTo>
                <a:lnTo>
                  <a:pt x="2497" y="1315"/>
                </a:lnTo>
                <a:lnTo>
                  <a:pt x="2495" y="1311"/>
                </a:lnTo>
                <a:lnTo>
                  <a:pt x="2494" y="1310"/>
                </a:lnTo>
                <a:lnTo>
                  <a:pt x="2492" y="1307"/>
                </a:lnTo>
                <a:lnTo>
                  <a:pt x="2491" y="1305"/>
                </a:lnTo>
                <a:lnTo>
                  <a:pt x="2490" y="1301"/>
                </a:lnTo>
                <a:lnTo>
                  <a:pt x="2488" y="1296"/>
                </a:lnTo>
                <a:lnTo>
                  <a:pt x="2488" y="1295"/>
                </a:lnTo>
                <a:lnTo>
                  <a:pt x="2485" y="1291"/>
                </a:lnTo>
                <a:lnTo>
                  <a:pt x="2485" y="1289"/>
                </a:lnTo>
                <a:lnTo>
                  <a:pt x="2483" y="1283"/>
                </a:lnTo>
                <a:lnTo>
                  <a:pt x="2481" y="1280"/>
                </a:lnTo>
                <a:lnTo>
                  <a:pt x="2481" y="1279"/>
                </a:lnTo>
                <a:lnTo>
                  <a:pt x="2480" y="1276"/>
                </a:lnTo>
                <a:lnTo>
                  <a:pt x="2479" y="1271"/>
                </a:lnTo>
                <a:lnTo>
                  <a:pt x="2478" y="1268"/>
                </a:lnTo>
                <a:lnTo>
                  <a:pt x="2477" y="1263"/>
                </a:lnTo>
                <a:lnTo>
                  <a:pt x="2477" y="1257"/>
                </a:lnTo>
                <a:lnTo>
                  <a:pt x="2475" y="1250"/>
                </a:lnTo>
                <a:lnTo>
                  <a:pt x="2473" y="1243"/>
                </a:lnTo>
                <a:lnTo>
                  <a:pt x="2473" y="1235"/>
                </a:lnTo>
                <a:lnTo>
                  <a:pt x="2473" y="1219"/>
                </a:lnTo>
                <a:lnTo>
                  <a:pt x="2473" y="1211"/>
                </a:lnTo>
                <a:lnTo>
                  <a:pt x="2473" y="1204"/>
                </a:lnTo>
                <a:lnTo>
                  <a:pt x="2474" y="1193"/>
                </a:lnTo>
                <a:lnTo>
                  <a:pt x="2474" y="1189"/>
                </a:lnTo>
                <a:lnTo>
                  <a:pt x="2477" y="1179"/>
                </a:lnTo>
                <a:lnTo>
                  <a:pt x="2477" y="1175"/>
                </a:lnTo>
                <a:lnTo>
                  <a:pt x="2478" y="1172"/>
                </a:lnTo>
                <a:lnTo>
                  <a:pt x="2479" y="1167"/>
                </a:lnTo>
                <a:lnTo>
                  <a:pt x="2480" y="1163"/>
                </a:lnTo>
                <a:lnTo>
                  <a:pt x="2480" y="1161"/>
                </a:lnTo>
                <a:lnTo>
                  <a:pt x="2481" y="1160"/>
                </a:lnTo>
                <a:lnTo>
                  <a:pt x="2483" y="1156"/>
                </a:lnTo>
                <a:lnTo>
                  <a:pt x="2484" y="1153"/>
                </a:lnTo>
                <a:lnTo>
                  <a:pt x="2485" y="1150"/>
                </a:lnTo>
                <a:lnTo>
                  <a:pt x="2486" y="1147"/>
                </a:lnTo>
                <a:lnTo>
                  <a:pt x="2488" y="1144"/>
                </a:lnTo>
                <a:lnTo>
                  <a:pt x="2489" y="1141"/>
                </a:lnTo>
                <a:lnTo>
                  <a:pt x="2490" y="1139"/>
                </a:lnTo>
                <a:lnTo>
                  <a:pt x="2491" y="1136"/>
                </a:lnTo>
                <a:lnTo>
                  <a:pt x="2492" y="1134"/>
                </a:lnTo>
                <a:lnTo>
                  <a:pt x="2494" y="1132"/>
                </a:lnTo>
                <a:lnTo>
                  <a:pt x="2495" y="1129"/>
                </a:lnTo>
                <a:lnTo>
                  <a:pt x="2496" y="1128"/>
                </a:lnTo>
                <a:lnTo>
                  <a:pt x="2497" y="1125"/>
                </a:lnTo>
                <a:lnTo>
                  <a:pt x="2498" y="1124"/>
                </a:lnTo>
                <a:lnTo>
                  <a:pt x="2500" y="1122"/>
                </a:lnTo>
                <a:lnTo>
                  <a:pt x="2501" y="1121"/>
                </a:lnTo>
                <a:lnTo>
                  <a:pt x="2503" y="1119"/>
                </a:lnTo>
                <a:lnTo>
                  <a:pt x="2504" y="1117"/>
                </a:lnTo>
                <a:lnTo>
                  <a:pt x="2507" y="1114"/>
                </a:lnTo>
                <a:lnTo>
                  <a:pt x="2510" y="1110"/>
                </a:lnTo>
                <a:lnTo>
                  <a:pt x="2514" y="1106"/>
                </a:lnTo>
                <a:lnTo>
                  <a:pt x="2519" y="1101"/>
                </a:lnTo>
                <a:lnTo>
                  <a:pt x="2523" y="1097"/>
                </a:lnTo>
                <a:lnTo>
                  <a:pt x="2525" y="1095"/>
                </a:lnTo>
                <a:lnTo>
                  <a:pt x="2527" y="1092"/>
                </a:lnTo>
                <a:lnTo>
                  <a:pt x="2530" y="1091"/>
                </a:lnTo>
                <a:lnTo>
                  <a:pt x="2532" y="1090"/>
                </a:lnTo>
                <a:lnTo>
                  <a:pt x="2533" y="1089"/>
                </a:lnTo>
                <a:lnTo>
                  <a:pt x="2535" y="1088"/>
                </a:lnTo>
                <a:lnTo>
                  <a:pt x="2537" y="1088"/>
                </a:lnTo>
                <a:lnTo>
                  <a:pt x="2539" y="1086"/>
                </a:lnTo>
                <a:lnTo>
                  <a:pt x="2542" y="1085"/>
                </a:lnTo>
                <a:lnTo>
                  <a:pt x="2543" y="1083"/>
                </a:lnTo>
                <a:lnTo>
                  <a:pt x="2547" y="1083"/>
                </a:lnTo>
                <a:lnTo>
                  <a:pt x="2549" y="1080"/>
                </a:lnTo>
                <a:lnTo>
                  <a:pt x="2567" y="1074"/>
                </a:lnTo>
                <a:lnTo>
                  <a:pt x="2570" y="1074"/>
                </a:lnTo>
                <a:lnTo>
                  <a:pt x="2573" y="1073"/>
                </a:lnTo>
                <a:lnTo>
                  <a:pt x="2577" y="1073"/>
                </a:lnTo>
                <a:lnTo>
                  <a:pt x="2581" y="1073"/>
                </a:lnTo>
                <a:lnTo>
                  <a:pt x="2581" y="1072"/>
                </a:lnTo>
                <a:close/>
                <a:moveTo>
                  <a:pt x="1629" y="1089"/>
                </a:moveTo>
                <a:lnTo>
                  <a:pt x="1629" y="1122"/>
                </a:lnTo>
                <a:lnTo>
                  <a:pt x="1580" y="1122"/>
                </a:lnTo>
                <a:lnTo>
                  <a:pt x="1581" y="1125"/>
                </a:lnTo>
                <a:lnTo>
                  <a:pt x="1583" y="1128"/>
                </a:lnTo>
                <a:lnTo>
                  <a:pt x="1583" y="1130"/>
                </a:lnTo>
                <a:lnTo>
                  <a:pt x="1585" y="1132"/>
                </a:lnTo>
                <a:lnTo>
                  <a:pt x="1586" y="1134"/>
                </a:lnTo>
                <a:lnTo>
                  <a:pt x="1587" y="1136"/>
                </a:lnTo>
                <a:lnTo>
                  <a:pt x="1588" y="1140"/>
                </a:lnTo>
                <a:lnTo>
                  <a:pt x="1588" y="1141"/>
                </a:lnTo>
                <a:lnTo>
                  <a:pt x="1589" y="1144"/>
                </a:lnTo>
                <a:lnTo>
                  <a:pt x="1589" y="1146"/>
                </a:lnTo>
                <a:lnTo>
                  <a:pt x="1591" y="1147"/>
                </a:lnTo>
                <a:lnTo>
                  <a:pt x="1591" y="1150"/>
                </a:lnTo>
                <a:lnTo>
                  <a:pt x="1592" y="1152"/>
                </a:lnTo>
                <a:lnTo>
                  <a:pt x="1592" y="1160"/>
                </a:lnTo>
                <a:lnTo>
                  <a:pt x="1593" y="1172"/>
                </a:lnTo>
                <a:lnTo>
                  <a:pt x="1594" y="1180"/>
                </a:lnTo>
                <a:lnTo>
                  <a:pt x="1594" y="1190"/>
                </a:lnTo>
                <a:lnTo>
                  <a:pt x="1593" y="1195"/>
                </a:lnTo>
                <a:lnTo>
                  <a:pt x="1592" y="1200"/>
                </a:lnTo>
                <a:lnTo>
                  <a:pt x="1592" y="1204"/>
                </a:lnTo>
                <a:lnTo>
                  <a:pt x="1587" y="1223"/>
                </a:lnTo>
                <a:lnTo>
                  <a:pt x="1586" y="1228"/>
                </a:lnTo>
                <a:lnTo>
                  <a:pt x="1585" y="1230"/>
                </a:lnTo>
                <a:lnTo>
                  <a:pt x="1581" y="1236"/>
                </a:lnTo>
                <a:lnTo>
                  <a:pt x="1579" y="1241"/>
                </a:lnTo>
                <a:lnTo>
                  <a:pt x="1577" y="1244"/>
                </a:lnTo>
                <a:lnTo>
                  <a:pt x="1576" y="1246"/>
                </a:lnTo>
                <a:lnTo>
                  <a:pt x="1575" y="1247"/>
                </a:lnTo>
                <a:lnTo>
                  <a:pt x="1574" y="1250"/>
                </a:lnTo>
                <a:lnTo>
                  <a:pt x="1571" y="1251"/>
                </a:lnTo>
                <a:lnTo>
                  <a:pt x="1565" y="1258"/>
                </a:lnTo>
                <a:lnTo>
                  <a:pt x="1562" y="1263"/>
                </a:lnTo>
                <a:lnTo>
                  <a:pt x="1559" y="1265"/>
                </a:lnTo>
                <a:lnTo>
                  <a:pt x="1557" y="1266"/>
                </a:lnTo>
                <a:lnTo>
                  <a:pt x="1554" y="1267"/>
                </a:lnTo>
                <a:lnTo>
                  <a:pt x="1553" y="1268"/>
                </a:lnTo>
                <a:lnTo>
                  <a:pt x="1551" y="1269"/>
                </a:lnTo>
                <a:lnTo>
                  <a:pt x="1548" y="1271"/>
                </a:lnTo>
                <a:lnTo>
                  <a:pt x="1545" y="1273"/>
                </a:lnTo>
                <a:lnTo>
                  <a:pt x="1542" y="1273"/>
                </a:lnTo>
                <a:lnTo>
                  <a:pt x="1540" y="1274"/>
                </a:lnTo>
                <a:lnTo>
                  <a:pt x="1536" y="1276"/>
                </a:lnTo>
                <a:lnTo>
                  <a:pt x="1535" y="1277"/>
                </a:lnTo>
                <a:lnTo>
                  <a:pt x="1529" y="1278"/>
                </a:lnTo>
                <a:lnTo>
                  <a:pt x="1523" y="1279"/>
                </a:lnTo>
                <a:lnTo>
                  <a:pt x="1508" y="1280"/>
                </a:lnTo>
                <a:lnTo>
                  <a:pt x="1505" y="1280"/>
                </a:lnTo>
                <a:lnTo>
                  <a:pt x="1500" y="1280"/>
                </a:lnTo>
                <a:lnTo>
                  <a:pt x="1492" y="1279"/>
                </a:lnTo>
                <a:lnTo>
                  <a:pt x="1488" y="1279"/>
                </a:lnTo>
                <a:lnTo>
                  <a:pt x="1484" y="1279"/>
                </a:lnTo>
                <a:lnTo>
                  <a:pt x="1482" y="1280"/>
                </a:lnTo>
                <a:lnTo>
                  <a:pt x="1481" y="1282"/>
                </a:lnTo>
                <a:lnTo>
                  <a:pt x="1478" y="1283"/>
                </a:lnTo>
                <a:lnTo>
                  <a:pt x="1476" y="1287"/>
                </a:lnTo>
                <a:lnTo>
                  <a:pt x="1473" y="1289"/>
                </a:lnTo>
                <a:lnTo>
                  <a:pt x="1470" y="1293"/>
                </a:lnTo>
                <a:lnTo>
                  <a:pt x="1469" y="1294"/>
                </a:lnTo>
                <a:lnTo>
                  <a:pt x="1467" y="1296"/>
                </a:lnTo>
                <a:lnTo>
                  <a:pt x="1466" y="1298"/>
                </a:lnTo>
                <a:lnTo>
                  <a:pt x="1465" y="1301"/>
                </a:lnTo>
                <a:lnTo>
                  <a:pt x="1464" y="1304"/>
                </a:lnTo>
                <a:lnTo>
                  <a:pt x="1463" y="1307"/>
                </a:lnTo>
                <a:lnTo>
                  <a:pt x="1463" y="1310"/>
                </a:lnTo>
                <a:lnTo>
                  <a:pt x="1463" y="1312"/>
                </a:lnTo>
                <a:lnTo>
                  <a:pt x="1464" y="1315"/>
                </a:lnTo>
                <a:lnTo>
                  <a:pt x="1466" y="1316"/>
                </a:lnTo>
                <a:lnTo>
                  <a:pt x="1469" y="1317"/>
                </a:lnTo>
                <a:lnTo>
                  <a:pt x="1471" y="1317"/>
                </a:lnTo>
                <a:lnTo>
                  <a:pt x="1477" y="1318"/>
                </a:lnTo>
                <a:lnTo>
                  <a:pt x="1489" y="1317"/>
                </a:lnTo>
                <a:lnTo>
                  <a:pt x="1505" y="1317"/>
                </a:lnTo>
                <a:lnTo>
                  <a:pt x="1519" y="1316"/>
                </a:lnTo>
                <a:lnTo>
                  <a:pt x="1525" y="1316"/>
                </a:lnTo>
                <a:lnTo>
                  <a:pt x="1534" y="1316"/>
                </a:lnTo>
                <a:lnTo>
                  <a:pt x="1540" y="1316"/>
                </a:lnTo>
                <a:lnTo>
                  <a:pt x="1550" y="1316"/>
                </a:lnTo>
                <a:lnTo>
                  <a:pt x="1556" y="1317"/>
                </a:lnTo>
                <a:lnTo>
                  <a:pt x="1560" y="1317"/>
                </a:lnTo>
                <a:lnTo>
                  <a:pt x="1564" y="1318"/>
                </a:lnTo>
                <a:lnTo>
                  <a:pt x="1568" y="1318"/>
                </a:lnTo>
                <a:lnTo>
                  <a:pt x="1574" y="1319"/>
                </a:lnTo>
                <a:lnTo>
                  <a:pt x="1576" y="1321"/>
                </a:lnTo>
                <a:lnTo>
                  <a:pt x="1579" y="1321"/>
                </a:lnTo>
                <a:lnTo>
                  <a:pt x="1581" y="1322"/>
                </a:lnTo>
                <a:lnTo>
                  <a:pt x="1582" y="1322"/>
                </a:lnTo>
                <a:lnTo>
                  <a:pt x="1585" y="1322"/>
                </a:lnTo>
                <a:lnTo>
                  <a:pt x="1591" y="1324"/>
                </a:lnTo>
                <a:lnTo>
                  <a:pt x="1593" y="1326"/>
                </a:lnTo>
                <a:lnTo>
                  <a:pt x="1595" y="1327"/>
                </a:lnTo>
                <a:lnTo>
                  <a:pt x="1599" y="1328"/>
                </a:lnTo>
                <a:lnTo>
                  <a:pt x="1602" y="1329"/>
                </a:lnTo>
                <a:lnTo>
                  <a:pt x="1605" y="1332"/>
                </a:lnTo>
                <a:lnTo>
                  <a:pt x="1608" y="1333"/>
                </a:lnTo>
                <a:lnTo>
                  <a:pt x="1610" y="1334"/>
                </a:lnTo>
                <a:lnTo>
                  <a:pt x="1611" y="1335"/>
                </a:lnTo>
                <a:lnTo>
                  <a:pt x="1614" y="1337"/>
                </a:lnTo>
                <a:lnTo>
                  <a:pt x="1616" y="1340"/>
                </a:lnTo>
                <a:lnTo>
                  <a:pt x="1621" y="1345"/>
                </a:lnTo>
                <a:lnTo>
                  <a:pt x="1623" y="1346"/>
                </a:lnTo>
                <a:lnTo>
                  <a:pt x="1626" y="1349"/>
                </a:lnTo>
                <a:lnTo>
                  <a:pt x="1627" y="1351"/>
                </a:lnTo>
                <a:lnTo>
                  <a:pt x="1628" y="1352"/>
                </a:lnTo>
                <a:lnTo>
                  <a:pt x="1629" y="1355"/>
                </a:lnTo>
                <a:lnTo>
                  <a:pt x="1631" y="1357"/>
                </a:lnTo>
                <a:lnTo>
                  <a:pt x="1632" y="1359"/>
                </a:lnTo>
                <a:lnTo>
                  <a:pt x="1633" y="1362"/>
                </a:lnTo>
                <a:lnTo>
                  <a:pt x="1634" y="1365"/>
                </a:lnTo>
                <a:lnTo>
                  <a:pt x="1634" y="1366"/>
                </a:lnTo>
                <a:lnTo>
                  <a:pt x="1635" y="1367"/>
                </a:lnTo>
                <a:lnTo>
                  <a:pt x="1635" y="1370"/>
                </a:lnTo>
                <a:lnTo>
                  <a:pt x="1635" y="1371"/>
                </a:lnTo>
                <a:lnTo>
                  <a:pt x="1637" y="1373"/>
                </a:lnTo>
                <a:lnTo>
                  <a:pt x="1638" y="1379"/>
                </a:lnTo>
                <a:lnTo>
                  <a:pt x="1639" y="1385"/>
                </a:lnTo>
                <a:lnTo>
                  <a:pt x="1639" y="1393"/>
                </a:lnTo>
                <a:lnTo>
                  <a:pt x="1639" y="1396"/>
                </a:lnTo>
                <a:lnTo>
                  <a:pt x="1638" y="1399"/>
                </a:lnTo>
                <a:lnTo>
                  <a:pt x="1638" y="1404"/>
                </a:lnTo>
                <a:lnTo>
                  <a:pt x="1638" y="1406"/>
                </a:lnTo>
                <a:lnTo>
                  <a:pt x="1637" y="1410"/>
                </a:lnTo>
                <a:lnTo>
                  <a:pt x="1637" y="1411"/>
                </a:lnTo>
                <a:lnTo>
                  <a:pt x="1635" y="1413"/>
                </a:lnTo>
                <a:lnTo>
                  <a:pt x="1635" y="1417"/>
                </a:lnTo>
                <a:lnTo>
                  <a:pt x="1634" y="1421"/>
                </a:lnTo>
                <a:lnTo>
                  <a:pt x="1633" y="1423"/>
                </a:lnTo>
                <a:lnTo>
                  <a:pt x="1631" y="1427"/>
                </a:lnTo>
                <a:lnTo>
                  <a:pt x="1628" y="1432"/>
                </a:lnTo>
                <a:lnTo>
                  <a:pt x="1627" y="1434"/>
                </a:lnTo>
                <a:lnTo>
                  <a:pt x="1626" y="1437"/>
                </a:lnTo>
                <a:lnTo>
                  <a:pt x="1623" y="1438"/>
                </a:lnTo>
                <a:lnTo>
                  <a:pt x="1622" y="1439"/>
                </a:lnTo>
                <a:lnTo>
                  <a:pt x="1621" y="1442"/>
                </a:lnTo>
                <a:lnTo>
                  <a:pt x="1616" y="1446"/>
                </a:lnTo>
                <a:lnTo>
                  <a:pt x="1609" y="1454"/>
                </a:lnTo>
                <a:lnTo>
                  <a:pt x="1606" y="1456"/>
                </a:lnTo>
                <a:lnTo>
                  <a:pt x="1604" y="1459"/>
                </a:lnTo>
                <a:lnTo>
                  <a:pt x="1602" y="1460"/>
                </a:lnTo>
                <a:lnTo>
                  <a:pt x="1600" y="1461"/>
                </a:lnTo>
                <a:lnTo>
                  <a:pt x="1598" y="1462"/>
                </a:lnTo>
                <a:lnTo>
                  <a:pt x="1595" y="1463"/>
                </a:lnTo>
                <a:lnTo>
                  <a:pt x="1594" y="1465"/>
                </a:lnTo>
                <a:lnTo>
                  <a:pt x="1592" y="1466"/>
                </a:lnTo>
                <a:lnTo>
                  <a:pt x="1589" y="1467"/>
                </a:lnTo>
                <a:lnTo>
                  <a:pt x="1587" y="1468"/>
                </a:lnTo>
                <a:lnTo>
                  <a:pt x="1582" y="1470"/>
                </a:lnTo>
                <a:lnTo>
                  <a:pt x="1581" y="1471"/>
                </a:lnTo>
                <a:lnTo>
                  <a:pt x="1577" y="1472"/>
                </a:lnTo>
                <a:lnTo>
                  <a:pt x="1557" y="1479"/>
                </a:lnTo>
                <a:lnTo>
                  <a:pt x="1553" y="1479"/>
                </a:lnTo>
                <a:lnTo>
                  <a:pt x="1551" y="1479"/>
                </a:lnTo>
                <a:lnTo>
                  <a:pt x="1547" y="1481"/>
                </a:lnTo>
                <a:lnTo>
                  <a:pt x="1544" y="1481"/>
                </a:lnTo>
                <a:lnTo>
                  <a:pt x="1539" y="1482"/>
                </a:lnTo>
                <a:lnTo>
                  <a:pt x="1533" y="1482"/>
                </a:lnTo>
                <a:lnTo>
                  <a:pt x="1522" y="1483"/>
                </a:lnTo>
                <a:lnTo>
                  <a:pt x="1519" y="1483"/>
                </a:lnTo>
                <a:lnTo>
                  <a:pt x="1513" y="1483"/>
                </a:lnTo>
                <a:lnTo>
                  <a:pt x="1506" y="1483"/>
                </a:lnTo>
                <a:lnTo>
                  <a:pt x="1496" y="1483"/>
                </a:lnTo>
                <a:lnTo>
                  <a:pt x="1490" y="1482"/>
                </a:lnTo>
                <a:lnTo>
                  <a:pt x="1471" y="1478"/>
                </a:lnTo>
                <a:lnTo>
                  <a:pt x="1453" y="1472"/>
                </a:lnTo>
                <a:lnTo>
                  <a:pt x="1450" y="1471"/>
                </a:lnTo>
                <a:lnTo>
                  <a:pt x="1449" y="1471"/>
                </a:lnTo>
                <a:lnTo>
                  <a:pt x="1446" y="1468"/>
                </a:lnTo>
                <a:lnTo>
                  <a:pt x="1442" y="1467"/>
                </a:lnTo>
                <a:lnTo>
                  <a:pt x="1440" y="1466"/>
                </a:lnTo>
                <a:lnTo>
                  <a:pt x="1436" y="1463"/>
                </a:lnTo>
                <a:lnTo>
                  <a:pt x="1435" y="1462"/>
                </a:lnTo>
                <a:lnTo>
                  <a:pt x="1432" y="1461"/>
                </a:lnTo>
                <a:lnTo>
                  <a:pt x="1432" y="1460"/>
                </a:lnTo>
                <a:lnTo>
                  <a:pt x="1430" y="1459"/>
                </a:lnTo>
                <a:lnTo>
                  <a:pt x="1429" y="1457"/>
                </a:lnTo>
                <a:lnTo>
                  <a:pt x="1426" y="1455"/>
                </a:lnTo>
                <a:lnTo>
                  <a:pt x="1421" y="1451"/>
                </a:lnTo>
                <a:lnTo>
                  <a:pt x="1418" y="1448"/>
                </a:lnTo>
                <a:lnTo>
                  <a:pt x="1414" y="1444"/>
                </a:lnTo>
                <a:lnTo>
                  <a:pt x="1413" y="1442"/>
                </a:lnTo>
                <a:lnTo>
                  <a:pt x="1412" y="1439"/>
                </a:lnTo>
                <a:lnTo>
                  <a:pt x="1411" y="1438"/>
                </a:lnTo>
                <a:lnTo>
                  <a:pt x="1409" y="1437"/>
                </a:lnTo>
                <a:lnTo>
                  <a:pt x="1408" y="1434"/>
                </a:lnTo>
                <a:lnTo>
                  <a:pt x="1407" y="1432"/>
                </a:lnTo>
                <a:lnTo>
                  <a:pt x="1406" y="1429"/>
                </a:lnTo>
                <a:lnTo>
                  <a:pt x="1405" y="1427"/>
                </a:lnTo>
                <a:lnTo>
                  <a:pt x="1403" y="1424"/>
                </a:lnTo>
                <a:lnTo>
                  <a:pt x="1403" y="1422"/>
                </a:lnTo>
                <a:lnTo>
                  <a:pt x="1401" y="1417"/>
                </a:lnTo>
                <a:lnTo>
                  <a:pt x="1400" y="1410"/>
                </a:lnTo>
                <a:lnTo>
                  <a:pt x="1398" y="1406"/>
                </a:lnTo>
                <a:lnTo>
                  <a:pt x="1397" y="1399"/>
                </a:lnTo>
                <a:lnTo>
                  <a:pt x="1397" y="1395"/>
                </a:lnTo>
                <a:lnTo>
                  <a:pt x="1397" y="1391"/>
                </a:lnTo>
                <a:lnTo>
                  <a:pt x="1398" y="1387"/>
                </a:lnTo>
                <a:lnTo>
                  <a:pt x="1400" y="1380"/>
                </a:lnTo>
                <a:lnTo>
                  <a:pt x="1400" y="1378"/>
                </a:lnTo>
                <a:lnTo>
                  <a:pt x="1401" y="1374"/>
                </a:lnTo>
                <a:lnTo>
                  <a:pt x="1402" y="1371"/>
                </a:lnTo>
                <a:lnTo>
                  <a:pt x="1405" y="1365"/>
                </a:lnTo>
                <a:lnTo>
                  <a:pt x="1407" y="1362"/>
                </a:lnTo>
                <a:lnTo>
                  <a:pt x="1408" y="1360"/>
                </a:lnTo>
                <a:lnTo>
                  <a:pt x="1409" y="1359"/>
                </a:lnTo>
                <a:lnTo>
                  <a:pt x="1411" y="1356"/>
                </a:lnTo>
                <a:lnTo>
                  <a:pt x="1413" y="1355"/>
                </a:lnTo>
                <a:lnTo>
                  <a:pt x="1418" y="1350"/>
                </a:lnTo>
                <a:lnTo>
                  <a:pt x="1420" y="1345"/>
                </a:lnTo>
                <a:lnTo>
                  <a:pt x="1424" y="1343"/>
                </a:lnTo>
                <a:lnTo>
                  <a:pt x="1426" y="1341"/>
                </a:lnTo>
                <a:lnTo>
                  <a:pt x="1427" y="1340"/>
                </a:lnTo>
                <a:lnTo>
                  <a:pt x="1430" y="1339"/>
                </a:lnTo>
                <a:lnTo>
                  <a:pt x="1432" y="1338"/>
                </a:lnTo>
                <a:lnTo>
                  <a:pt x="1434" y="1337"/>
                </a:lnTo>
                <a:lnTo>
                  <a:pt x="1431" y="1335"/>
                </a:lnTo>
                <a:lnTo>
                  <a:pt x="1430" y="1334"/>
                </a:lnTo>
                <a:lnTo>
                  <a:pt x="1427" y="1332"/>
                </a:lnTo>
                <a:lnTo>
                  <a:pt x="1424" y="1328"/>
                </a:lnTo>
                <a:lnTo>
                  <a:pt x="1423" y="1327"/>
                </a:lnTo>
                <a:lnTo>
                  <a:pt x="1421" y="1324"/>
                </a:lnTo>
                <a:lnTo>
                  <a:pt x="1421" y="1323"/>
                </a:lnTo>
                <a:lnTo>
                  <a:pt x="1420" y="1321"/>
                </a:lnTo>
                <a:lnTo>
                  <a:pt x="1419" y="1317"/>
                </a:lnTo>
                <a:lnTo>
                  <a:pt x="1419" y="1313"/>
                </a:lnTo>
                <a:lnTo>
                  <a:pt x="1419" y="1310"/>
                </a:lnTo>
                <a:lnTo>
                  <a:pt x="1420" y="1307"/>
                </a:lnTo>
                <a:lnTo>
                  <a:pt x="1420" y="1306"/>
                </a:lnTo>
                <a:lnTo>
                  <a:pt x="1421" y="1304"/>
                </a:lnTo>
                <a:lnTo>
                  <a:pt x="1423" y="1301"/>
                </a:lnTo>
                <a:lnTo>
                  <a:pt x="1424" y="1299"/>
                </a:lnTo>
                <a:lnTo>
                  <a:pt x="1425" y="1298"/>
                </a:lnTo>
                <a:lnTo>
                  <a:pt x="1426" y="1294"/>
                </a:lnTo>
                <a:lnTo>
                  <a:pt x="1427" y="1293"/>
                </a:lnTo>
                <a:lnTo>
                  <a:pt x="1430" y="1291"/>
                </a:lnTo>
                <a:lnTo>
                  <a:pt x="1432" y="1288"/>
                </a:lnTo>
                <a:lnTo>
                  <a:pt x="1438" y="1282"/>
                </a:lnTo>
                <a:lnTo>
                  <a:pt x="1444" y="1276"/>
                </a:lnTo>
                <a:lnTo>
                  <a:pt x="1447" y="1272"/>
                </a:lnTo>
                <a:lnTo>
                  <a:pt x="1456" y="1265"/>
                </a:lnTo>
                <a:lnTo>
                  <a:pt x="1453" y="1263"/>
                </a:lnTo>
                <a:lnTo>
                  <a:pt x="1452" y="1261"/>
                </a:lnTo>
                <a:lnTo>
                  <a:pt x="1449" y="1260"/>
                </a:lnTo>
                <a:lnTo>
                  <a:pt x="1446" y="1256"/>
                </a:lnTo>
                <a:lnTo>
                  <a:pt x="1437" y="1249"/>
                </a:lnTo>
                <a:lnTo>
                  <a:pt x="1435" y="1245"/>
                </a:lnTo>
                <a:lnTo>
                  <a:pt x="1432" y="1243"/>
                </a:lnTo>
                <a:lnTo>
                  <a:pt x="1431" y="1240"/>
                </a:lnTo>
                <a:lnTo>
                  <a:pt x="1430" y="1238"/>
                </a:lnTo>
                <a:lnTo>
                  <a:pt x="1430" y="1236"/>
                </a:lnTo>
                <a:lnTo>
                  <a:pt x="1427" y="1234"/>
                </a:lnTo>
                <a:lnTo>
                  <a:pt x="1427" y="1233"/>
                </a:lnTo>
                <a:lnTo>
                  <a:pt x="1426" y="1230"/>
                </a:lnTo>
                <a:lnTo>
                  <a:pt x="1425" y="1228"/>
                </a:lnTo>
                <a:lnTo>
                  <a:pt x="1424" y="1225"/>
                </a:lnTo>
                <a:lnTo>
                  <a:pt x="1423" y="1223"/>
                </a:lnTo>
                <a:lnTo>
                  <a:pt x="1420" y="1219"/>
                </a:lnTo>
                <a:lnTo>
                  <a:pt x="1419" y="1217"/>
                </a:lnTo>
                <a:lnTo>
                  <a:pt x="1418" y="1212"/>
                </a:lnTo>
                <a:lnTo>
                  <a:pt x="1418" y="1211"/>
                </a:lnTo>
                <a:lnTo>
                  <a:pt x="1417" y="1208"/>
                </a:lnTo>
                <a:lnTo>
                  <a:pt x="1417" y="1207"/>
                </a:lnTo>
                <a:lnTo>
                  <a:pt x="1415" y="1205"/>
                </a:lnTo>
                <a:lnTo>
                  <a:pt x="1414" y="1201"/>
                </a:lnTo>
                <a:lnTo>
                  <a:pt x="1414" y="1199"/>
                </a:lnTo>
                <a:lnTo>
                  <a:pt x="1413" y="1196"/>
                </a:lnTo>
                <a:lnTo>
                  <a:pt x="1413" y="1193"/>
                </a:lnTo>
                <a:lnTo>
                  <a:pt x="1412" y="1185"/>
                </a:lnTo>
                <a:lnTo>
                  <a:pt x="1411" y="1178"/>
                </a:lnTo>
                <a:lnTo>
                  <a:pt x="1411" y="1171"/>
                </a:lnTo>
                <a:lnTo>
                  <a:pt x="1411" y="1166"/>
                </a:lnTo>
                <a:lnTo>
                  <a:pt x="1411" y="1163"/>
                </a:lnTo>
                <a:lnTo>
                  <a:pt x="1411" y="1157"/>
                </a:lnTo>
                <a:lnTo>
                  <a:pt x="1412" y="1152"/>
                </a:lnTo>
                <a:lnTo>
                  <a:pt x="1412" y="1149"/>
                </a:lnTo>
                <a:lnTo>
                  <a:pt x="1415" y="1139"/>
                </a:lnTo>
                <a:lnTo>
                  <a:pt x="1415" y="1136"/>
                </a:lnTo>
                <a:lnTo>
                  <a:pt x="1415" y="1134"/>
                </a:lnTo>
                <a:lnTo>
                  <a:pt x="1417" y="1133"/>
                </a:lnTo>
                <a:lnTo>
                  <a:pt x="1417" y="1132"/>
                </a:lnTo>
                <a:lnTo>
                  <a:pt x="1418" y="1129"/>
                </a:lnTo>
                <a:lnTo>
                  <a:pt x="1418" y="1127"/>
                </a:lnTo>
                <a:lnTo>
                  <a:pt x="1419" y="1124"/>
                </a:lnTo>
                <a:lnTo>
                  <a:pt x="1420" y="1122"/>
                </a:lnTo>
                <a:lnTo>
                  <a:pt x="1421" y="1118"/>
                </a:lnTo>
                <a:lnTo>
                  <a:pt x="1423" y="1117"/>
                </a:lnTo>
                <a:lnTo>
                  <a:pt x="1425" y="1112"/>
                </a:lnTo>
                <a:lnTo>
                  <a:pt x="1426" y="1111"/>
                </a:lnTo>
                <a:lnTo>
                  <a:pt x="1427" y="1108"/>
                </a:lnTo>
                <a:lnTo>
                  <a:pt x="1429" y="1107"/>
                </a:lnTo>
                <a:lnTo>
                  <a:pt x="1431" y="1106"/>
                </a:lnTo>
                <a:lnTo>
                  <a:pt x="1432" y="1103"/>
                </a:lnTo>
                <a:lnTo>
                  <a:pt x="1436" y="1099"/>
                </a:lnTo>
                <a:lnTo>
                  <a:pt x="1440" y="1095"/>
                </a:lnTo>
                <a:lnTo>
                  <a:pt x="1441" y="1094"/>
                </a:lnTo>
                <a:lnTo>
                  <a:pt x="1444" y="1090"/>
                </a:lnTo>
                <a:lnTo>
                  <a:pt x="1447" y="1088"/>
                </a:lnTo>
                <a:lnTo>
                  <a:pt x="1448" y="1088"/>
                </a:lnTo>
                <a:lnTo>
                  <a:pt x="1450" y="1086"/>
                </a:lnTo>
                <a:lnTo>
                  <a:pt x="1453" y="1085"/>
                </a:lnTo>
                <a:lnTo>
                  <a:pt x="1458" y="1083"/>
                </a:lnTo>
                <a:lnTo>
                  <a:pt x="1459" y="1081"/>
                </a:lnTo>
                <a:lnTo>
                  <a:pt x="1461" y="1080"/>
                </a:lnTo>
                <a:lnTo>
                  <a:pt x="1464" y="1079"/>
                </a:lnTo>
                <a:lnTo>
                  <a:pt x="1466" y="1078"/>
                </a:lnTo>
                <a:lnTo>
                  <a:pt x="1469" y="1077"/>
                </a:lnTo>
                <a:lnTo>
                  <a:pt x="1471" y="1077"/>
                </a:lnTo>
                <a:lnTo>
                  <a:pt x="1472" y="1075"/>
                </a:lnTo>
                <a:lnTo>
                  <a:pt x="1475" y="1075"/>
                </a:lnTo>
                <a:lnTo>
                  <a:pt x="1477" y="1074"/>
                </a:lnTo>
                <a:lnTo>
                  <a:pt x="1479" y="1074"/>
                </a:lnTo>
                <a:lnTo>
                  <a:pt x="1482" y="1073"/>
                </a:lnTo>
                <a:lnTo>
                  <a:pt x="1485" y="1073"/>
                </a:lnTo>
                <a:lnTo>
                  <a:pt x="1490" y="1073"/>
                </a:lnTo>
                <a:lnTo>
                  <a:pt x="1510" y="1072"/>
                </a:lnTo>
                <a:lnTo>
                  <a:pt x="1515" y="1073"/>
                </a:lnTo>
                <a:lnTo>
                  <a:pt x="1517" y="1073"/>
                </a:lnTo>
                <a:lnTo>
                  <a:pt x="1519" y="1073"/>
                </a:lnTo>
                <a:lnTo>
                  <a:pt x="1522" y="1074"/>
                </a:lnTo>
                <a:lnTo>
                  <a:pt x="1524" y="1074"/>
                </a:lnTo>
                <a:lnTo>
                  <a:pt x="1525" y="1075"/>
                </a:lnTo>
                <a:lnTo>
                  <a:pt x="1528" y="1075"/>
                </a:lnTo>
                <a:lnTo>
                  <a:pt x="1531" y="1077"/>
                </a:lnTo>
                <a:lnTo>
                  <a:pt x="1534" y="1078"/>
                </a:lnTo>
                <a:lnTo>
                  <a:pt x="1537" y="1080"/>
                </a:lnTo>
                <a:lnTo>
                  <a:pt x="1542" y="1083"/>
                </a:lnTo>
                <a:lnTo>
                  <a:pt x="1544" y="1084"/>
                </a:lnTo>
                <a:lnTo>
                  <a:pt x="1547" y="1085"/>
                </a:lnTo>
                <a:lnTo>
                  <a:pt x="1548" y="1088"/>
                </a:lnTo>
                <a:lnTo>
                  <a:pt x="1550" y="1088"/>
                </a:lnTo>
                <a:lnTo>
                  <a:pt x="1629" y="1089"/>
                </a:lnTo>
                <a:close/>
                <a:moveTo>
                  <a:pt x="1345" y="1204"/>
                </a:moveTo>
                <a:lnTo>
                  <a:pt x="1175" y="1244"/>
                </a:lnTo>
                <a:lnTo>
                  <a:pt x="1176" y="1249"/>
                </a:lnTo>
                <a:lnTo>
                  <a:pt x="1177" y="1254"/>
                </a:lnTo>
                <a:lnTo>
                  <a:pt x="1177" y="1256"/>
                </a:lnTo>
                <a:lnTo>
                  <a:pt x="1178" y="1261"/>
                </a:lnTo>
                <a:lnTo>
                  <a:pt x="1180" y="1266"/>
                </a:lnTo>
                <a:lnTo>
                  <a:pt x="1180" y="1267"/>
                </a:lnTo>
                <a:lnTo>
                  <a:pt x="1181" y="1269"/>
                </a:lnTo>
                <a:lnTo>
                  <a:pt x="1181" y="1271"/>
                </a:lnTo>
                <a:lnTo>
                  <a:pt x="1183" y="1277"/>
                </a:lnTo>
                <a:lnTo>
                  <a:pt x="1185" y="1279"/>
                </a:lnTo>
                <a:lnTo>
                  <a:pt x="1186" y="1283"/>
                </a:lnTo>
                <a:lnTo>
                  <a:pt x="1187" y="1287"/>
                </a:lnTo>
                <a:lnTo>
                  <a:pt x="1189" y="1291"/>
                </a:lnTo>
                <a:lnTo>
                  <a:pt x="1192" y="1294"/>
                </a:lnTo>
                <a:lnTo>
                  <a:pt x="1193" y="1296"/>
                </a:lnTo>
                <a:lnTo>
                  <a:pt x="1194" y="1298"/>
                </a:lnTo>
                <a:lnTo>
                  <a:pt x="1195" y="1300"/>
                </a:lnTo>
                <a:lnTo>
                  <a:pt x="1197" y="1301"/>
                </a:lnTo>
                <a:lnTo>
                  <a:pt x="1199" y="1304"/>
                </a:lnTo>
                <a:lnTo>
                  <a:pt x="1201" y="1307"/>
                </a:lnTo>
                <a:lnTo>
                  <a:pt x="1203" y="1308"/>
                </a:lnTo>
                <a:lnTo>
                  <a:pt x="1205" y="1311"/>
                </a:lnTo>
                <a:lnTo>
                  <a:pt x="1209" y="1315"/>
                </a:lnTo>
                <a:lnTo>
                  <a:pt x="1211" y="1317"/>
                </a:lnTo>
                <a:lnTo>
                  <a:pt x="1214" y="1318"/>
                </a:lnTo>
                <a:lnTo>
                  <a:pt x="1215" y="1319"/>
                </a:lnTo>
                <a:lnTo>
                  <a:pt x="1217" y="1319"/>
                </a:lnTo>
                <a:lnTo>
                  <a:pt x="1220" y="1322"/>
                </a:lnTo>
                <a:lnTo>
                  <a:pt x="1223" y="1323"/>
                </a:lnTo>
                <a:lnTo>
                  <a:pt x="1226" y="1323"/>
                </a:lnTo>
                <a:lnTo>
                  <a:pt x="1229" y="1326"/>
                </a:lnTo>
                <a:lnTo>
                  <a:pt x="1232" y="1326"/>
                </a:lnTo>
                <a:lnTo>
                  <a:pt x="1237" y="1327"/>
                </a:lnTo>
                <a:lnTo>
                  <a:pt x="1241" y="1328"/>
                </a:lnTo>
                <a:lnTo>
                  <a:pt x="1247" y="1329"/>
                </a:lnTo>
                <a:lnTo>
                  <a:pt x="1252" y="1329"/>
                </a:lnTo>
                <a:lnTo>
                  <a:pt x="1259" y="1329"/>
                </a:lnTo>
                <a:lnTo>
                  <a:pt x="1272" y="1328"/>
                </a:lnTo>
                <a:lnTo>
                  <a:pt x="1274" y="1327"/>
                </a:lnTo>
                <a:lnTo>
                  <a:pt x="1276" y="1327"/>
                </a:lnTo>
                <a:lnTo>
                  <a:pt x="1280" y="1326"/>
                </a:lnTo>
                <a:lnTo>
                  <a:pt x="1281" y="1326"/>
                </a:lnTo>
                <a:lnTo>
                  <a:pt x="1284" y="1324"/>
                </a:lnTo>
                <a:lnTo>
                  <a:pt x="1285" y="1324"/>
                </a:lnTo>
                <a:lnTo>
                  <a:pt x="1288" y="1323"/>
                </a:lnTo>
                <a:lnTo>
                  <a:pt x="1291" y="1322"/>
                </a:lnTo>
                <a:lnTo>
                  <a:pt x="1296" y="1319"/>
                </a:lnTo>
                <a:lnTo>
                  <a:pt x="1299" y="1318"/>
                </a:lnTo>
                <a:lnTo>
                  <a:pt x="1302" y="1316"/>
                </a:lnTo>
                <a:lnTo>
                  <a:pt x="1303" y="1315"/>
                </a:lnTo>
                <a:lnTo>
                  <a:pt x="1305" y="1313"/>
                </a:lnTo>
                <a:lnTo>
                  <a:pt x="1307" y="1311"/>
                </a:lnTo>
                <a:lnTo>
                  <a:pt x="1311" y="1307"/>
                </a:lnTo>
                <a:lnTo>
                  <a:pt x="1316" y="1304"/>
                </a:lnTo>
                <a:lnTo>
                  <a:pt x="1317" y="1302"/>
                </a:lnTo>
                <a:lnTo>
                  <a:pt x="1321" y="1298"/>
                </a:lnTo>
                <a:lnTo>
                  <a:pt x="1322" y="1296"/>
                </a:lnTo>
                <a:lnTo>
                  <a:pt x="1326" y="1293"/>
                </a:lnTo>
                <a:lnTo>
                  <a:pt x="1328" y="1291"/>
                </a:lnTo>
                <a:lnTo>
                  <a:pt x="1330" y="1290"/>
                </a:lnTo>
                <a:lnTo>
                  <a:pt x="1333" y="1288"/>
                </a:lnTo>
                <a:lnTo>
                  <a:pt x="1337" y="1288"/>
                </a:lnTo>
                <a:lnTo>
                  <a:pt x="1339" y="1288"/>
                </a:lnTo>
                <a:lnTo>
                  <a:pt x="1342" y="1290"/>
                </a:lnTo>
                <a:lnTo>
                  <a:pt x="1343" y="1290"/>
                </a:lnTo>
                <a:lnTo>
                  <a:pt x="1344" y="1293"/>
                </a:lnTo>
                <a:lnTo>
                  <a:pt x="1344" y="1294"/>
                </a:lnTo>
                <a:lnTo>
                  <a:pt x="1345" y="1296"/>
                </a:lnTo>
                <a:lnTo>
                  <a:pt x="1345" y="1299"/>
                </a:lnTo>
                <a:lnTo>
                  <a:pt x="1344" y="1304"/>
                </a:lnTo>
                <a:lnTo>
                  <a:pt x="1343" y="1308"/>
                </a:lnTo>
                <a:lnTo>
                  <a:pt x="1342" y="1311"/>
                </a:lnTo>
                <a:lnTo>
                  <a:pt x="1340" y="1313"/>
                </a:lnTo>
                <a:lnTo>
                  <a:pt x="1339" y="1316"/>
                </a:lnTo>
                <a:lnTo>
                  <a:pt x="1338" y="1318"/>
                </a:lnTo>
                <a:lnTo>
                  <a:pt x="1336" y="1322"/>
                </a:lnTo>
                <a:lnTo>
                  <a:pt x="1334" y="1322"/>
                </a:lnTo>
                <a:lnTo>
                  <a:pt x="1333" y="1324"/>
                </a:lnTo>
                <a:lnTo>
                  <a:pt x="1331" y="1327"/>
                </a:lnTo>
                <a:lnTo>
                  <a:pt x="1328" y="1330"/>
                </a:lnTo>
                <a:lnTo>
                  <a:pt x="1322" y="1337"/>
                </a:lnTo>
                <a:lnTo>
                  <a:pt x="1319" y="1340"/>
                </a:lnTo>
                <a:lnTo>
                  <a:pt x="1316" y="1344"/>
                </a:lnTo>
                <a:lnTo>
                  <a:pt x="1313" y="1346"/>
                </a:lnTo>
                <a:lnTo>
                  <a:pt x="1310" y="1348"/>
                </a:lnTo>
                <a:lnTo>
                  <a:pt x="1309" y="1349"/>
                </a:lnTo>
                <a:lnTo>
                  <a:pt x="1307" y="1351"/>
                </a:lnTo>
                <a:lnTo>
                  <a:pt x="1304" y="1351"/>
                </a:lnTo>
                <a:lnTo>
                  <a:pt x="1302" y="1352"/>
                </a:lnTo>
                <a:lnTo>
                  <a:pt x="1298" y="1355"/>
                </a:lnTo>
                <a:lnTo>
                  <a:pt x="1296" y="1356"/>
                </a:lnTo>
                <a:lnTo>
                  <a:pt x="1291" y="1359"/>
                </a:lnTo>
                <a:lnTo>
                  <a:pt x="1288" y="1360"/>
                </a:lnTo>
                <a:lnTo>
                  <a:pt x="1287" y="1361"/>
                </a:lnTo>
                <a:lnTo>
                  <a:pt x="1284" y="1362"/>
                </a:lnTo>
                <a:lnTo>
                  <a:pt x="1280" y="1363"/>
                </a:lnTo>
                <a:lnTo>
                  <a:pt x="1279" y="1363"/>
                </a:lnTo>
                <a:lnTo>
                  <a:pt x="1276" y="1365"/>
                </a:lnTo>
                <a:lnTo>
                  <a:pt x="1275" y="1365"/>
                </a:lnTo>
                <a:lnTo>
                  <a:pt x="1270" y="1366"/>
                </a:lnTo>
                <a:lnTo>
                  <a:pt x="1264" y="1367"/>
                </a:lnTo>
                <a:lnTo>
                  <a:pt x="1258" y="1368"/>
                </a:lnTo>
                <a:lnTo>
                  <a:pt x="1250" y="1370"/>
                </a:lnTo>
                <a:lnTo>
                  <a:pt x="1240" y="1368"/>
                </a:lnTo>
                <a:lnTo>
                  <a:pt x="1233" y="1367"/>
                </a:lnTo>
                <a:lnTo>
                  <a:pt x="1226" y="1367"/>
                </a:lnTo>
                <a:lnTo>
                  <a:pt x="1223" y="1366"/>
                </a:lnTo>
                <a:lnTo>
                  <a:pt x="1221" y="1366"/>
                </a:lnTo>
                <a:lnTo>
                  <a:pt x="1218" y="1366"/>
                </a:lnTo>
                <a:lnTo>
                  <a:pt x="1216" y="1365"/>
                </a:lnTo>
                <a:lnTo>
                  <a:pt x="1215" y="1365"/>
                </a:lnTo>
                <a:lnTo>
                  <a:pt x="1212" y="1363"/>
                </a:lnTo>
                <a:lnTo>
                  <a:pt x="1211" y="1363"/>
                </a:lnTo>
                <a:lnTo>
                  <a:pt x="1209" y="1362"/>
                </a:lnTo>
                <a:lnTo>
                  <a:pt x="1206" y="1361"/>
                </a:lnTo>
                <a:lnTo>
                  <a:pt x="1203" y="1360"/>
                </a:lnTo>
                <a:lnTo>
                  <a:pt x="1200" y="1359"/>
                </a:lnTo>
                <a:lnTo>
                  <a:pt x="1197" y="1356"/>
                </a:lnTo>
                <a:lnTo>
                  <a:pt x="1192" y="1354"/>
                </a:lnTo>
                <a:lnTo>
                  <a:pt x="1191" y="1352"/>
                </a:lnTo>
                <a:lnTo>
                  <a:pt x="1188" y="1351"/>
                </a:lnTo>
                <a:lnTo>
                  <a:pt x="1187" y="1351"/>
                </a:lnTo>
                <a:lnTo>
                  <a:pt x="1186" y="1349"/>
                </a:lnTo>
                <a:lnTo>
                  <a:pt x="1183" y="1348"/>
                </a:lnTo>
                <a:lnTo>
                  <a:pt x="1181" y="1345"/>
                </a:lnTo>
                <a:lnTo>
                  <a:pt x="1174" y="1339"/>
                </a:lnTo>
                <a:lnTo>
                  <a:pt x="1168" y="1333"/>
                </a:lnTo>
                <a:lnTo>
                  <a:pt x="1165" y="1329"/>
                </a:lnTo>
                <a:lnTo>
                  <a:pt x="1163" y="1327"/>
                </a:lnTo>
                <a:lnTo>
                  <a:pt x="1162" y="1324"/>
                </a:lnTo>
                <a:lnTo>
                  <a:pt x="1160" y="1323"/>
                </a:lnTo>
                <a:lnTo>
                  <a:pt x="1159" y="1322"/>
                </a:lnTo>
                <a:lnTo>
                  <a:pt x="1158" y="1319"/>
                </a:lnTo>
                <a:lnTo>
                  <a:pt x="1157" y="1318"/>
                </a:lnTo>
                <a:lnTo>
                  <a:pt x="1156" y="1316"/>
                </a:lnTo>
                <a:lnTo>
                  <a:pt x="1154" y="1312"/>
                </a:lnTo>
                <a:lnTo>
                  <a:pt x="1153" y="1311"/>
                </a:lnTo>
                <a:lnTo>
                  <a:pt x="1152" y="1308"/>
                </a:lnTo>
                <a:lnTo>
                  <a:pt x="1151" y="1306"/>
                </a:lnTo>
                <a:lnTo>
                  <a:pt x="1149" y="1304"/>
                </a:lnTo>
                <a:lnTo>
                  <a:pt x="1147" y="1299"/>
                </a:lnTo>
                <a:lnTo>
                  <a:pt x="1147" y="1298"/>
                </a:lnTo>
                <a:lnTo>
                  <a:pt x="1146" y="1295"/>
                </a:lnTo>
                <a:lnTo>
                  <a:pt x="1145" y="1293"/>
                </a:lnTo>
                <a:lnTo>
                  <a:pt x="1142" y="1287"/>
                </a:lnTo>
                <a:lnTo>
                  <a:pt x="1135" y="1262"/>
                </a:lnTo>
                <a:lnTo>
                  <a:pt x="1135" y="1256"/>
                </a:lnTo>
                <a:lnTo>
                  <a:pt x="1134" y="1252"/>
                </a:lnTo>
                <a:lnTo>
                  <a:pt x="1134" y="1249"/>
                </a:lnTo>
                <a:lnTo>
                  <a:pt x="1133" y="1244"/>
                </a:lnTo>
                <a:lnTo>
                  <a:pt x="1133" y="1239"/>
                </a:lnTo>
                <a:lnTo>
                  <a:pt x="1131" y="1232"/>
                </a:lnTo>
                <a:lnTo>
                  <a:pt x="1131" y="1227"/>
                </a:lnTo>
                <a:lnTo>
                  <a:pt x="1131" y="1219"/>
                </a:lnTo>
                <a:lnTo>
                  <a:pt x="1131" y="1213"/>
                </a:lnTo>
                <a:lnTo>
                  <a:pt x="1131" y="1208"/>
                </a:lnTo>
                <a:lnTo>
                  <a:pt x="1133" y="1195"/>
                </a:lnTo>
                <a:lnTo>
                  <a:pt x="1133" y="1191"/>
                </a:lnTo>
                <a:lnTo>
                  <a:pt x="1134" y="1188"/>
                </a:lnTo>
                <a:lnTo>
                  <a:pt x="1134" y="1184"/>
                </a:lnTo>
                <a:lnTo>
                  <a:pt x="1135" y="1182"/>
                </a:lnTo>
                <a:lnTo>
                  <a:pt x="1135" y="1178"/>
                </a:lnTo>
                <a:lnTo>
                  <a:pt x="1136" y="1175"/>
                </a:lnTo>
                <a:lnTo>
                  <a:pt x="1136" y="1173"/>
                </a:lnTo>
                <a:lnTo>
                  <a:pt x="1137" y="1171"/>
                </a:lnTo>
                <a:lnTo>
                  <a:pt x="1139" y="1167"/>
                </a:lnTo>
                <a:lnTo>
                  <a:pt x="1139" y="1164"/>
                </a:lnTo>
                <a:lnTo>
                  <a:pt x="1140" y="1163"/>
                </a:lnTo>
                <a:lnTo>
                  <a:pt x="1140" y="1161"/>
                </a:lnTo>
                <a:lnTo>
                  <a:pt x="1141" y="1160"/>
                </a:lnTo>
                <a:lnTo>
                  <a:pt x="1142" y="1155"/>
                </a:lnTo>
                <a:lnTo>
                  <a:pt x="1143" y="1151"/>
                </a:lnTo>
                <a:lnTo>
                  <a:pt x="1145" y="1149"/>
                </a:lnTo>
                <a:lnTo>
                  <a:pt x="1146" y="1145"/>
                </a:lnTo>
                <a:lnTo>
                  <a:pt x="1148" y="1141"/>
                </a:lnTo>
                <a:lnTo>
                  <a:pt x="1149" y="1139"/>
                </a:lnTo>
                <a:lnTo>
                  <a:pt x="1151" y="1135"/>
                </a:lnTo>
                <a:lnTo>
                  <a:pt x="1153" y="1132"/>
                </a:lnTo>
                <a:lnTo>
                  <a:pt x="1156" y="1128"/>
                </a:lnTo>
                <a:lnTo>
                  <a:pt x="1157" y="1127"/>
                </a:lnTo>
                <a:lnTo>
                  <a:pt x="1157" y="1124"/>
                </a:lnTo>
                <a:lnTo>
                  <a:pt x="1158" y="1123"/>
                </a:lnTo>
                <a:lnTo>
                  <a:pt x="1159" y="1121"/>
                </a:lnTo>
                <a:lnTo>
                  <a:pt x="1160" y="1119"/>
                </a:lnTo>
                <a:lnTo>
                  <a:pt x="1163" y="1118"/>
                </a:lnTo>
                <a:lnTo>
                  <a:pt x="1164" y="1116"/>
                </a:lnTo>
                <a:lnTo>
                  <a:pt x="1168" y="1112"/>
                </a:lnTo>
                <a:lnTo>
                  <a:pt x="1168" y="1111"/>
                </a:lnTo>
                <a:lnTo>
                  <a:pt x="1172" y="1106"/>
                </a:lnTo>
                <a:lnTo>
                  <a:pt x="1175" y="1102"/>
                </a:lnTo>
                <a:lnTo>
                  <a:pt x="1177" y="1102"/>
                </a:lnTo>
                <a:lnTo>
                  <a:pt x="1182" y="1096"/>
                </a:lnTo>
                <a:lnTo>
                  <a:pt x="1185" y="1094"/>
                </a:lnTo>
                <a:lnTo>
                  <a:pt x="1187" y="1092"/>
                </a:lnTo>
                <a:lnTo>
                  <a:pt x="1189" y="1090"/>
                </a:lnTo>
                <a:lnTo>
                  <a:pt x="1191" y="1089"/>
                </a:lnTo>
                <a:lnTo>
                  <a:pt x="1193" y="1089"/>
                </a:lnTo>
                <a:lnTo>
                  <a:pt x="1194" y="1088"/>
                </a:lnTo>
                <a:lnTo>
                  <a:pt x="1197" y="1086"/>
                </a:lnTo>
                <a:lnTo>
                  <a:pt x="1200" y="1085"/>
                </a:lnTo>
                <a:lnTo>
                  <a:pt x="1204" y="1083"/>
                </a:lnTo>
                <a:lnTo>
                  <a:pt x="1207" y="1080"/>
                </a:lnTo>
                <a:lnTo>
                  <a:pt x="1209" y="1080"/>
                </a:lnTo>
                <a:lnTo>
                  <a:pt x="1212" y="1079"/>
                </a:lnTo>
                <a:lnTo>
                  <a:pt x="1215" y="1078"/>
                </a:lnTo>
                <a:lnTo>
                  <a:pt x="1216" y="1077"/>
                </a:lnTo>
                <a:lnTo>
                  <a:pt x="1218" y="1077"/>
                </a:lnTo>
                <a:lnTo>
                  <a:pt x="1220" y="1075"/>
                </a:lnTo>
                <a:lnTo>
                  <a:pt x="1227" y="1074"/>
                </a:lnTo>
                <a:lnTo>
                  <a:pt x="1234" y="1073"/>
                </a:lnTo>
                <a:lnTo>
                  <a:pt x="1249" y="1072"/>
                </a:lnTo>
                <a:lnTo>
                  <a:pt x="1261" y="1073"/>
                </a:lnTo>
                <a:lnTo>
                  <a:pt x="1267" y="1074"/>
                </a:lnTo>
                <a:lnTo>
                  <a:pt x="1272" y="1075"/>
                </a:lnTo>
                <a:lnTo>
                  <a:pt x="1273" y="1075"/>
                </a:lnTo>
                <a:lnTo>
                  <a:pt x="1274" y="1077"/>
                </a:lnTo>
                <a:lnTo>
                  <a:pt x="1276" y="1077"/>
                </a:lnTo>
                <a:lnTo>
                  <a:pt x="1280" y="1078"/>
                </a:lnTo>
                <a:lnTo>
                  <a:pt x="1282" y="1079"/>
                </a:lnTo>
                <a:lnTo>
                  <a:pt x="1284" y="1080"/>
                </a:lnTo>
                <a:lnTo>
                  <a:pt x="1286" y="1081"/>
                </a:lnTo>
                <a:lnTo>
                  <a:pt x="1287" y="1083"/>
                </a:lnTo>
                <a:lnTo>
                  <a:pt x="1291" y="1084"/>
                </a:lnTo>
                <a:lnTo>
                  <a:pt x="1293" y="1085"/>
                </a:lnTo>
                <a:lnTo>
                  <a:pt x="1295" y="1086"/>
                </a:lnTo>
                <a:lnTo>
                  <a:pt x="1297" y="1088"/>
                </a:lnTo>
                <a:lnTo>
                  <a:pt x="1298" y="1089"/>
                </a:lnTo>
                <a:lnTo>
                  <a:pt x="1301" y="1091"/>
                </a:lnTo>
                <a:lnTo>
                  <a:pt x="1307" y="1097"/>
                </a:lnTo>
                <a:lnTo>
                  <a:pt x="1311" y="1102"/>
                </a:lnTo>
                <a:lnTo>
                  <a:pt x="1314" y="1105"/>
                </a:lnTo>
                <a:lnTo>
                  <a:pt x="1316" y="1107"/>
                </a:lnTo>
                <a:lnTo>
                  <a:pt x="1317" y="1110"/>
                </a:lnTo>
                <a:lnTo>
                  <a:pt x="1319" y="1111"/>
                </a:lnTo>
                <a:lnTo>
                  <a:pt x="1320" y="1113"/>
                </a:lnTo>
                <a:lnTo>
                  <a:pt x="1320" y="1116"/>
                </a:lnTo>
                <a:lnTo>
                  <a:pt x="1322" y="1118"/>
                </a:lnTo>
                <a:lnTo>
                  <a:pt x="1324" y="1119"/>
                </a:lnTo>
                <a:lnTo>
                  <a:pt x="1325" y="1122"/>
                </a:lnTo>
                <a:lnTo>
                  <a:pt x="1326" y="1124"/>
                </a:lnTo>
                <a:lnTo>
                  <a:pt x="1327" y="1127"/>
                </a:lnTo>
                <a:lnTo>
                  <a:pt x="1328" y="1130"/>
                </a:lnTo>
                <a:lnTo>
                  <a:pt x="1330" y="1132"/>
                </a:lnTo>
                <a:lnTo>
                  <a:pt x="1331" y="1136"/>
                </a:lnTo>
                <a:lnTo>
                  <a:pt x="1331" y="1138"/>
                </a:lnTo>
                <a:lnTo>
                  <a:pt x="1333" y="1143"/>
                </a:lnTo>
                <a:lnTo>
                  <a:pt x="1333" y="1145"/>
                </a:lnTo>
                <a:lnTo>
                  <a:pt x="1334" y="1146"/>
                </a:lnTo>
                <a:lnTo>
                  <a:pt x="1334" y="1147"/>
                </a:lnTo>
                <a:lnTo>
                  <a:pt x="1336" y="1150"/>
                </a:lnTo>
                <a:lnTo>
                  <a:pt x="1337" y="1153"/>
                </a:lnTo>
                <a:lnTo>
                  <a:pt x="1338" y="1158"/>
                </a:lnTo>
                <a:lnTo>
                  <a:pt x="1338" y="1161"/>
                </a:lnTo>
                <a:lnTo>
                  <a:pt x="1339" y="1163"/>
                </a:lnTo>
                <a:lnTo>
                  <a:pt x="1339" y="1166"/>
                </a:lnTo>
                <a:lnTo>
                  <a:pt x="1340" y="1169"/>
                </a:lnTo>
                <a:lnTo>
                  <a:pt x="1340" y="1172"/>
                </a:lnTo>
                <a:lnTo>
                  <a:pt x="1342" y="1175"/>
                </a:lnTo>
                <a:lnTo>
                  <a:pt x="1343" y="1183"/>
                </a:lnTo>
                <a:lnTo>
                  <a:pt x="1343" y="1186"/>
                </a:lnTo>
                <a:lnTo>
                  <a:pt x="1344" y="1193"/>
                </a:lnTo>
                <a:lnTo>
                  <a:pt x="1345" y="1204"/>
                </a:lnTo>
                <a:close/>
                <a:moveTo>
                  <a:pt x="835" y="1365"/>
                </a:moveTo>
                <a:lnTo>
                  <a:pt x="835" y="1332"/>
                </a:lnTo>
                <a:lnTo>
                  <a:pt x="832" y="1335"/>
                </a:lnTo>
                <a:lnTo>
                  <a:pt x="829" y="1339"/>
                </a:lnTo>
                <a:lnTo>
                  <a:pt x="820" y="1351"/>
                </a:lnTo>
                <a:lnTo>
                  <a:pt x="816" y="1352"/>
                </a:lnTo>
                <a:lnTo>
                  <a:pt x="813" y="1355"/>
                </a:lnTo>
                <a:lnTo>
                  <a:pt x="812" y="1356"/>
                </a:lnTo>
                <a:lnTo>
                  <a:pt x="810" y="1357"/>
                </a:lnTo>
                <a:lnTo>
                  <a:pt x="809" y="1357"/>
                </a:lnTo>
                <a:lnTo>
                  <a:pt x="804" y="1360"/>
                </a:lnTo>
                <a:lnTo>
                  <a:pt x="801" y="1361"/>
                </a:lnTo>
                <a:lnTo>
                  <a:pt x="798" y="1363"/>
                </a:lnTo>
                <a:lnTo>
                  <a:pt x="794" y="1365"/>
                </a:lnTo>
                <a:lnTo>
                  <a:pt x="789" y="1366"/>
                </a:lnTo>
                <a:lnTo>
                  <a:pt x="788" y="1366"/>
                </a:lnTo>
                <a:lnTo>
                  <a:pt x="784" y="1367"/>
                </a:lnTo>
                <a:lnTo>
                  <a:pt x="777" y="1368"/>
                </a:lnTo>
                <a:lnTo>
                  <a:pt x="769" y="1368"/>
                </a:lnTo>
                <a:lnTo>
                  <a:pt x="760" y="1368"/>
                </a:lnTo>
                <a:lnTo>
                  <a:pt x="753" y="1366"/>
                </a:lnTo>
                <a:lnTo>
                  <a:pt x="751" y="1366"/>
                </a:lnTo>
                <a:lnTo>
                  <a:pt x="748" y="1366"/>
                </a:lnTo>
                <a:lnTo>
                  <a:pt x="745" y="1365"/>
                </a:lnTo>
                <a:lnTo>
                  <a:pt x="740" y="1363"/>
                </a:lnTo>
                <a:lnTo>
                  <a:pt x="736" y="1361"/>
                </a:lnTo>
                <a:lnTo>
                  <a:pt x="731" y="1359"/>
                </a:lnTo>
                <a:lnTo>
                  <a:pt x="730" y="1357"/>
                </a:lnTo>
                <a:lnTo>
                  <a:pt x="728" y="1356"/>
                </a:lnTo>
                <a:lnTo>
                  <a:pt x="726" y="1355"/>
                </a:lnTo>
                <a:lnTo>
                  <a:pt x="725" y="1354"/>
                </a:lnTo>
                <a:lnTo>
                  <a:pt x="722" y="1350"/>
                </a:lnTo>
                <a:lnTo>
                  <a:pt x="719" y="1349"/>
                </a:lnTo>
                <a:lnTo>
                  <a:pt x="717" y="1348"/>
                </a:lnTo>
                <a:lnTo>
                  <a:pt x="713" y="1343"/>
                </a:lnTo>
                <a:lnTo>
                  <a:pt x="712" y="1340"/>
                </a:lnTo>
                <a:lnTo>
                  <a:pt x="711" y="1339"/>
                </a:lnTo>
                <a:lnTo>
                  <a:pt x="710" y="1337"/>
                </a:lnTo>
                <a:lnTo>
                  <a:pt x="708" y="1335"/>
                </a:lnTo>
                <a:lnTo>
                  <a:pt x="707" y="1332"/>
                </a:lnTo>
                <a:lnTo>
                  <a:pt x="706" y="1330"/>
                </a:lnTo>
                <a:lnTo>
                  <a:pt x="705" y="1327"/>
                </a:lnTo>
                <a:lnTo>
                  <a:pt x="703" y="1324"/>
                </a:lnTo>
                <a:lnTo>
                  <a:pt x="702" y="1322"/>
                </a:lnTo>
                <a:lnTo>
                  <a:pt x="702" y="1319"/>
                </a:lnTo>
                <a:lnTo>
                  <a:pt x="701" y="1318"/>
                </a:lnTo>
                <a:lnTo>
                  <a:pt x="701" y="1316"/>
                </a:lnTo>
                <a:lnTo>
                  <a:pt x="700" y="1313"/>
                </a:lnTo>
                <a:lnTo>
                  <a:pt x="699" y="1308"/>
                </a:lnTo>
                <a:lnTo>
                  <a:pt x="697" y="1302"/>
                </a:lnTo>
                <a:lnTo>
                  <a:pt x="697" y="1296"/>
                </a:lnTo>
                <a:lnTo>
                  <a:pt x="696" y="1289"/>
                </a:lnTo>
                <a:lnTo>
                  <a:pt x="696" y="1279"/>
                </a:lnTo>
                <a:lnTo>
                  <a:pt x="697" y="1274"/>
                </a:lnTo>
                <a:lnTo>
                  <a:pt x="697" y="1271"/>
                </a:lnTo>
                <a:lnTo>
                  <a:pt x="699" y="1267"/>
                </a:lnTo>
                <a:lnTo>
                  <a:pt x="699" y="1265"/>
                </a:lnTo>
                <a:lnTo>
                  <a:pt x="700" y="1263"/>
                </a:lnTo>
                <a:lnTo>
                  <a:pt x="700" y="1261"/>
                </a:lnTo>
                <a:lnTo>
                  <a:pt x="701" y="1257"/>
                </a:lnTo>
                <a:lnTo>
                  <a:pt x="702" y="1254"/>
                </a:lnTo>
                <a:lnTo>
                  <a:pt x="703" y="1251"/>
                </a:lnTo>
                <a:lnTo>
                  <a:pt x="706" y="1247"/>
                </a:lnTo>
                <a:lnTo>
                  <a:pt x="707" y="1243"/>
                </a:lnTo>
                <a:lnTo>
                  <a:pt x="712" y="1236"/>
                </a:lnTo>
                <a:lnTo>
                  <a:pt x="718" y="1230"/>
                </a:lnTo>
                <a:lnTo>
                  <a:pt x="723" y="1224"/>
                </a:lnTo>
                <a:lnTo>
                  <a:pt x="729" y="1219"/>
                </a:lnTo>
                <a:lnTo>
                  <a:pt x="742" y="1210"/>
                </a:lnTo>
                <a:lnTo>
                  <a:pt x="749" y="1206"/>
                </a:lnTo>
                <a:lnTo>
                  <a:pt x="757" y="1202"/>
                </a:lnTo>
                <a:lnTo>
                  <a:pt x="778" y="1195"/>
                </a:lnTo>
                <a:lnTo>
                  <a:pt x="781" y="1195"/>
                </a:lnTo>
                <a:lnTo>
                  <a:pt x="792" y="1193"/>
                </a:lnTo>
                <a:lnTo>
                  <a:pt x="798" y="1191"/>
                </a:lnTo>
                <a:lnTo>
                  <a:pt x="803" y="1190"/>
                </a:lnTo>
                <a:lnTo>
                  <a:pt x="810" y="1190"/>
                </a:lnTo>
                <a:lnTo>
                  <a:pt x="823" y="1186"/>
                </a:lnTo>
                <a:lnTo>
                  <a:pt x="827" y="1186"/>
                </a:lnTo>
                <a:lnTo>
                  <a:pt x="835" y="1185"/>
                </a:lnTo>
                <a:lnTo>
                  <a:pt x="835" y="1173"/>
                </a:lnTo>
                <a:lnTo>
                  <a:pt x="834" y="1163"/>
                </a:lnTo>
                <a:lnTo>
                  <a:pt x="834" y="1152"/>
                </a:lnTo>
                <a:lnTo>
                  <a:pt x="832" y="1144"/>
                </a:lnTo>
                <a:lnTo>
                  <a:pt x="830" y="1140"/>
                </a:lnTo>
                <a:lnTo>
                  <a:pt x="824" y="1127"/>
                </a:lnTo>
                <a:lnTo>
                  <a:pt x="823" y="1124"/>
                </a:lnTo>
                <a:lnTo>
                  <a:pt x="820" y="1122"/>
                </a:lnTo>
                <a:lnTo>
                  <a:pt x="818" y="1121"/>
                </a:lnTo>
                <a:lnTo>
                  <a:pt x="815" y="1117"/>
                </a:lnTo>
                <a:lnTo>
                  <a:pt x="813" y="1116"/>
                </a:lnTo>
                <a:lnTo>
                  <a:pt x="811" y="1116"/>
                </a:lnTo>
                <a:lnTo>
                  <a:pt x="809" y="1114"/>
                </a:lnTo>
                <a:lnTo>
                  <a:pt x="805" y="1112"/>
                </a:lnTo>
                <a:lnTo>
                  <a:pt x="799" y="1110"/>
                </a:lnTo>
                <a:lnTo>
                  <a:pt x="797" y="1110"/>
                </a:lnTo>
                <a:lnTo>
                  <a:pt x="793" y="1108"/>
                </a:lnTo>
                <a:lnTo>
                  <a:pt x="788" y="1107"/>
                </a:lnTo>
                <a:lnTo>
                  <a:pt x="778" y="1107"/>
                </a:lnTo>
                <a:lnTo>
                  <a:pt x="768" y="1108"/>
                </a:lnTo>
                <a:lnTo>
                  <a:pt x="764" y="1110"/>
                </a:lnTo>
                <a:lnTo>
                  <a:pt x="760" y="1112"/>
                </a:lnTo>
                <a:lnTo>
                  <a:pt x="759" y="1113"/>
                </a:lnTo>
                <a:lnTo>
                  <a:pt x="758" y="1114"/>
                </a:lnTo>
                <a:lnTo>
                  <a:pt x="754" y="1117"/>
                </a:lnTo>
                <a:lnTo>
                  <a:pt x="753" y="1118"/>
                </a:lnTo>
                <a:lnTo>
                  <a:pt x="752" y="1121"/>
                </a:lnTo>
                <a:lnTo>
                  <a:pt x="752" y="1123"/>
                </a:lnTo>
                <a:lnTo>
                  <a:pt x="751" y="1125"/>
                </a:lnTo>
                <a:lnTo>
                  <a:pt x="749" y="1129"/>
                </a:lnTo>
                <a:lnTo>
                  <a:pt x="748" y="1130"/>
                </a:lnTo>
                <a:lnTo>
                  <a:pt x="747" y="1134"/>
                </a:lnTo>
                <a:lnTo>
                  <a:pt x="746" y="1135"/>
                </a:lnTo>
                <a:lnTo>
                  <a:pt x="745" y="1138"/>
                </a:lnTo>
                <a:lnTo>
                  <a:pt x="743" y="1141"/>
                </a:lnTo>
                <a:lnTo>
                  <a:pt x="742" y="1145"/>
                </a:lnTo>
                <a:lnTo>
                  <a:pt x="741" y="1146"/>
                </a:lnTo>
                <a:lnTo>
                  <a:pt x="740" y="1149"/>
                </a:lnTo>
                <a:lnTo>
                  <a:pt x="737" y="1155"/>
                </a:lnTo>
                <a:lnTo>
                  <a:pt x="736" y="1157"/>
                </a:lnTo>
                <a:lnTo>
                  <a:pt x="735" y="1158"/>
                </a:lnTo>
                <a:lnTo>
                  <a:pt x="732" y="1161"/>
                </a:lnTo>
                <a:lnTo>
                  <a:pt x="730" y="1162"/>
                </a:lnTo>
                <a:lnTo>
                  <a:pt x="725" y="1164"/>
                </a:lnTo>
                <a:lnTo>
                  <a:pt x="722" y="1164"/>
                </a:lnTo>
                <a:lnTo>
                  <a:pt x="719" y="1164"/>
                </a:lnTo>
                <a:lnTo>
                  <a:pt x="718" y="1163"/>
                </a:lnTo>
                <a:lnTo>
                  <a:pt x="716" y="1162"/>
                </a:lnTo>
                <a:lnTo>
                  <a:pt x="713" y="1160"/>
                </a:lnTo>
                <a:lnTo>
                  <a:pt x="711" y="1155"/>
                </a:lnTo>
                <a:lnTo>
                  <a:pt x="710" y="1151"/>
                </a:lnTo>
                <a:lnTo>
                  <a:pt x="711" y="1146"/>
                </a:lnTo>
                <a:lnTo>
                  <a:pt x="712" y="1140"/>
                </a:lnTo>
                <a:lnTo>
                  <a:pt x="712" y="1134"/>
                </a:lnTo>
                <a:lnTo>
                  <a:pt x="713" y="1132"/>
                </a:lnTo>
                <a:lnTo>
                  <a:pt x="713" y="1129"/>
                </a:lnTo>
                <a:lnTo>
                  <a:pt x="714" y="1125"/>
                </a:lnTo>
                <a:lnTo>
                  <a:pt x="714" y="1123"/>
                </a:lnTo>
                <a:lnTo>
                  <a:pt x="716" y="1121"/>
                </a:lnTo>
                <a:lnTo>
                  <a:pt x="716" y="1117"/>
                </a:lnTo>
                <a:lnTo>
                  <a:pt x="717" y="1116"/>
                </a:lnTo>
                <a:lnTo>
                  <a:pt x="717" y="1112"/>
                </a:lnTo>
                <a:lnTo>
                  <a:pt x="718" y="1110"/>
                </a:lnTo>
                <a:lnTo>
                  <a:pt x="718" y="1107"/>
                </a:lnTo>
                <a:lnTo>
                  <a:pt x="719" y="1103"/>
                </a:lnTo>
                <a:lnTo>
                  <a:pt x="720" y="1096"/>
                </a:lnTo>
                <a:lnTo>
                  <a:pt x="723" y="1084"/>
                </a:lnTo>
                <a:lnTo>
                  <a:pt x="746" y="1077"/>
                </a:lnTo>
                <a:lnTo>
                  <a:pt x="769" y="1073"/>
                </a:lnTo>
                <a:lnTo>
                  <a:pt x="777" y="1073"/>
                </a:lnTo>
                <a:lnTo>
                  <a:pt x="794" y="1073"/>
                </a:lnTo>
                <a:lnTo>
                  <a:pt x="807" y="1074"/>
                </a:lnTo>
                <a:lnTo>
                  <a:pt x="811" y="1075"/>
                </a:lnTo>
                <a:lnTo>
                  <a:pt x="812" y="1077"/>
                </a:lnTo>
                <a:lnTo>
                  <a:pt x="815" y="1077"/>
                </a:lnTo>
                <a:lnTo>
                  <a:pt x="816" y="1078"/>
                </a:lnTo>
                <a:lnTo>
                  <a:pt x="820" y="1079"/>
                </a:lnTo>
                <a:lnTo>
                  <a:pt x="823" y="1080"/>
                </a:lnTo>
                <a:lnTo>
                  <a:pt x="826" y="1081"/>
                </a:lnTo>
                <a:lnTo>
                  <a:pt x="828" y="1083"/>
                </a:lnTo>
                <a:lnTo>
                  <a:pt x="830" y="1084"/>
                </a:lnTo>
                <a:lnTo>
                  <a:pt x="833" y="1085"/>
                </a:lnTo>
                <a:lnTo>
                  <a:pt x="836" y="1088"/>
                </a:lnTo>
                <a:lnTo>
                  <a:pt x="838" y="1088"/>
                </a:lnTo>
                <a:lnTo>
                  <a:pt x="839" y="1089"/>
                </a:lnTo>
                <a:lnTo>
                  <a:pt x="841" y="1091"/>
                </a:lnTo>
                <a:lnTo>
                  <a:pt x="844" y="1094"/>
                </a:lnTo>
                <a:lnTo>
                  <a:pt x="849" y="1097"/>
                </a:lnTo>
                <a:lnTo>
                  <a:pt x="852" y="1101"/>
                </a:lnTo>
                <a:lnTo>
                  <a:pt x="856" y="1106"/>
                </a:lnTo>
                <a:lnTo>
                  <a:pt x="859" y="1111"/>
                </a:lnTo>
                <a:lnTo>
                  <a:pt x="865" y="1122"/>
                </a:lnTo>
                <a:lnTo>
                  <a:pt x="870" y="1133"/>
                </a:lnTo>
                <a:lnTo>
                  <a:pt x="870" y="1135"/>
                </a:lnTo>
                <a:lnTo>
                  <a:pt x="873" y="1140"/>
                </a:lnTo>
                <a:lnTo>
                  <a:pt x="873" y="1145"/>
                </a:lnTo>
                <a:lnTo>
                  <a:pt x="874" y="1156"/>
                </a:lnTo>
                <a:lnTo>
                  <a:pt x="875" y="1167"/>
                </a:lnTo>
                <a:lnTo>
                  <a:pt x="875" y="1179"/>
                </a:lnTo>
                <a:lnTo>
                  <a:pt x="875" y="1249"/>
                </a:lnTo>
                <a:lnTo>
                  <a:pt x="875" y="1304"/>
                </a:lnTo>
                <a:lnTo>
                  <a:pt x="874" y="1316"/>
                </a:lnTo>
                <a:lnTo>
                  <a:pt x="875" y="1322"/>
                </a:lnTo>
                <a:lnTo>
                  <a:pt x="876" y="1327"/>
                </a:lnTo>
                <a:lnTo>
                  <a:pt x="878" y="1328"/>
                </a:lnTo>
                <a:lnTo>
                  <a:pt x="881" y="1332"/>
                </a:lnTo>
                <a:lnTo>
                  <a:pt x="884" y="1332"/>
                </a:lnTo>
                <a:lnTo>
                  <a:pt x="885" y="1332"/>
                </a:lnTo>
                <a:lnTo>
                  <a:pt x="887" y="1333"/>
                </a:lnTo>
                <a:lnTo>
                  <a:pt x="888" y="1333"/>
                </a:lnTo>
                <a:lnTo>
                  <a:pt x="891" y="1334"/>
                </a:lnTo>
                <a:lnTo>
                  <a:pt x="893" y="1334"/>
                </a:lnTo>
                <a:lnTo>
                  <a:pt x="894" y="1335"/>
                </a:lnTo>
                <a:lnTo>
                  <a:pt x="896" y="1335"/>
                </a:lnTo>
                <a:lnTo>
                  <a:pt x="898" y="1337"/>
                </a:lnTo>
                <a:lnTo>
                  <a:pt x="899" y="1337"/>
                </a:lnTo>
                <a:lnTo>
                  <a:pt x="902" y="1337"/>
                </a:lnTo>
                <a:lnTo>
                  <a:pt x="904" y="1338"/>
                </a:lnTo>
                <a:lnTo>
                  <a:pt x="908" y="1339"/>
                </a:lnTo>
                <a:lnTo>
                  <a:pt x="910" y="1340"/>
                </a:lnTo>
                <a:lnTo>
                  <a:pt x="915" y="1344"/>
                </a:lnTo>
                <a:lnTo>
                  <a:pt x="915" y="1345"/>
                </a:lnTo>
                <a:lnTo>
                  <a:pt x="916" y="1346"/>
                </a:lnTo>
                <a:lnTo>
                  <a:pt x="916" y="1350"/>
                </a:lnTo>
                <a:lnTo>
                  <a:pt x="916" y="1354"/>
                </a:lnTo>
                <a:lnTo>
                  <a:pt x="916" y="1356"/>
                </a:lnTo>
                <a:lnTo>
                  <a:pt x="915" y="1359"/>
                </a:lnTo>
                <a:lnTo>
                  <a:pt x="913" y="1361"/>
                </a:lnTo>
                <a:lnTo>
                  <a:pt x="911" y="1362"/>
                </a:lnTo>
                <a:lnTo>
                  <a:pt x="907" y="1363"/>
                </a:lnTo>
                <a:lnTo>
                  <a:pt x="900" y="1365"/>
                </a:lnTo>
                <a:lnTo>
                  <a:pt x="888" y="1365"/>
                </a:lnTo>
                <a:lnTo>
                  <a:pt x="835" y="1365"/>
                </a:lnTo>
                <a:close/>
                <a:moveTo>
                  <a:pt x="2943" y="1329"/>
                </a:moveTo>
                <a:lnTo>
                  <a:pt x="2944" y="1327"/>
                </a:lnTo>
                <a:lnTo>
                  <a:pt x="2944" y="1324"/>
                </a:lnTo>
                <a:lnTo>
                  <a:pt x="2944" y="1278"/>
                </a:lnTo>
                <a:lnTo>
                  <a:pt x="2944" y="1190"/>
                </a:lnTo>
                <a:lnTo>
                  <a:pt x="2946" y="1174"/>
                </a:lnTo>
                <a:lnTo>
                  <a:pt x="2944" y="1158"/>
                </a:lnTo>
                <a:lnTo>
                  <a:pt x="2944" y="1151"/>
                </a:lnTo>
                <a:lnTo>
                  <a:pt x="2943" y="1145"/>
                </a:lnTo>
                <a:lnTo>
                  <a:pt x="2942" y="1141"/>
                </a:lnTo>
                <a:lnTo>
                  <a:pt x="2942" y="1139"/>
                </a:lnTo>
                <a:lnTo>
                  <a:pt x="2940" y="1133"/>
                </a:lnTo>
                <a:lnTo>
                  <a:pt x="2938" y="1132"/>
                </a:lnTo>
                <a:lnTo>
                  <a:pt x="2937" y="1130"/>
                </a:lnTo>
                <a:lnTo>
                  <a:pt x="2934" y="1127"/>
                </a:lnTo>
                <a:lnTo>
                  <a:pt x="2929" y="1122"/>
                </a:lnTo>
                <a:lnTo>
                  <a:pt x="2926" y="1121"/>
                </a:lnTo>
                <a:lnTo>
                  <a:pt x="2925" y="1119"/>
                </a:lnTo>
                <a:lnTo>
                  <a:pt x="2921" y="1118"/>
                </a:lnTo>
                <a:lnTo>
                  <a:pt x="2918" y="1117"/>
                </a:lnTo>
                <a:lnTo>
                  <a:pt x="2906" y="1112"/>
                </a:lnTo>
                <a:lnTo>
                  <a:pt x="2896" y="1112"/>
                </a:lnTo>
                <a:lnTo>
                  <a:pt x="2889" y="1112"/>
                </a:lnTo>
                <a:lnTo>
                  <a:pt x="2883" y="1113"/>
                </a:lnTo>
                <a:lnTo>
                  <a:pt x="2877" y="1116"/>
                </a:lnTo>
                <a:lnTo>
                  <a:pt x="2872" y="1117"/>
                </a:lnTo>
                <a:lnTo>
                  <a:pt x="2869" y="1117"/>
                </a:lnTo>
                <a:lnTo>
                  <a:pt x="2867" y="1119"/>
                </a:lnTo>
                <a:lnTo>
                  <a:pt x="2862" y="1122"/>
                </a:lnTo>
                <a:lnTo>
                  <a:pt x="2860" y="1123"/>
                </a:lnTo>
                <a:lnTo>
                  <a:pt x="2859" y="1124"/>
                </a:lnTo>
                <a:lnTo>
                  <a:pt x="2856" y="1125"/>
                </a:lnTo>
                <a:lnTo>
                  <a:pt x="2855" y="1127"/>
                </a:lnTo>
                <a:lnTo>
                  <a:pt x="2851" y="1132"/>
                </a:lnTo>
                <a:lnTo>
                  <a:pt x="2845" y="1135"/>
                </a:lnTo>
                <a:lnTo>
                  <a:pt x="2839" y="1147"/>
                </a:lnTo>
                <a:lnTo>
                  <a:pt x="2836" y="1153"/>
                </a:lnTo>
                <a:lnTo>
                  <a:pt x="2833" y="1160"/>
                </a:lnTo>
                <a:lnTo>
                  <a:pt x="2831" y="1175"/>
                </a:lnTo>
                <a:lnTo>
                  <a:pt x="2831" y="1183"/>
                </a:lnTo>
                <a:lnTo>
                  <a:pt x="2830" y="1189"/>
                </a:lnTo>
                <a:lnTo>
                  <a:pt x="2830" y="1194"/>
                </a:lnTo>
                <a:lnTo>
                  <a:pt x="2830" y="1206"/>
                </a:lnTo>
                <a:lnTo>
                  <a:pt x="2830" y="1254"/>
                </a:lnTo>
                <a:lnTo>
                  <a:pt x="2830" y="1304"/>
                </a:lnTo>
                <a:lnTo>
                  <a:pt x="2830" y="1317"/>
                </a:lnTo>
                <a:lnTo>
                  <a:pt x="2831" y="1323"/>
                </a:lnTo>
                <a:lnTo>
                  <a:pt x="2832" y="1328"/>
                </a:lnTo>
                <a:lnTo>
                  <a:pt x="2837" y="1332"/>
                </a:lnTo>
                <a:lnTo>
                  <a:pt x="2838" y="1332"/>
                </a:lnTo>
                <a:lnTo>
                  <a:pt x="2843" y="1333"/>
                </a:lnTo>
                <a:lnTo>
                  <a:pt x="2846" y="1334"/>
                </a:lnTo>
                <a:lnTo>
                  <a:pt x="2853" y="1337"/>
                </a:lnTo>
                <a:lnTo>
                  <a:pt x="2859" y="1339"/>
                </a:lnTo>
                <a:lnTo>
                  <a:pt x="2862" y="1340"/>
                </a:lnTo>
                <a:lnTo>
                  <a:pt x="2865" y="1341"/>
                </a:lnTo>
                <a:lnTo>
                  <a:pt x="2868" y="1343"/>
                </a:lnTo>
                <a:lnTo>
                  <a:pt x="2871" y="1345"/>
                </a:lnTo>
                <a:lnTo>
                  <a:pt x="2872" y="1346"/>
                </a:lnTo>
                <a:lnTo>
                  <a:pt x="2872" y="1349"/>
                </a:lnTo>
                <a:lnTo>
                  <a:pt x="2873" y="1351"/>
                </a:lnTo>
                <a:lnTo>
                  <a:pt x="2873" y="1355"/>
                </a:lnTo>
                <a:lnTo>
                  <a:pt x="2872" y="1357"/>
                </a:lnTo>
                <a:lnTo>
                  <a:pt x="2871" y="1360"/>
                </a:lnTo>
                <a:lnTo>
                  <a:pt x="2869" y="1361"/>
                </a:lnTo>
                <a:lnTo>
                  <a:pt x="2868" y="1362"/>
                </a:lnTo>
                <a:lnTo>
                  <a:pt x="2865" y="1363"/>
                </a:lnTo>
                <a:lnTo>
                  <a:pt x="2862" y="1363"/>
                </a:lnTo>
                <a:lnTo>
                  <a:pt x="2775" y="1365"/>
                </a:lnTo>
                <a:lnTo>
                  <a:pt x="2767" y="1365"/>
                </a:lnTo>
                <a:lnTo>
                  <a:pt x="2759" y="1363"/>
                </a:lnTo>
                <a:lnTo>
                  <a:pt x="2756" y="1363"/>
                </a:lnTo>
                <a:lnTo>
                  <a:pt x="2752" y="1362"/>
                </a:lnTo>
                <a:lnTo>
                  <a:pt x="2750" y="1360"/>
                </a:lnTo>
                <a:lnTo>
                  <a:pt x="2750" y="1359"/>
                </a:lnTo>
                <a:lnTo>
                  <a:pt x="2749" y="1357"/>
                </a:lnTo>
                <a:lnTo>
                  <a:pt x="2747" y="1354"/>
                </a:lnTo>
                <a:lnTo>
                  <a:pt x="2747" y="1350"/>
                </a:lnTo>
                <a:lnTo>
                  <a:pt x="2750" y="1345"/>
                </a:lnTo>
                <a:lnTo>
                  <a:pt x="2752" y="1344"/>
                </a:lnTo>
                <a:lnTo>
                  <a:pt x="2753" y="1341"/>
                </a:lnTo>
                <a:lnTo>
                  <a:pt x="2755" y="1341"/>
                </a:lnTo>
                <a:lnTo>
                  <a:pt x="2757" y="1341"/>
                </a:lnTo>
                <a:lnTo>
                  <a:pt x="2759" y="1340"/>
                </a:lnTo>
                <a:lnTo>
                  <a:pt x="2763" y="1339"/>
                </a:lnTo>
                <a:lnTo>
                  <a:pt x="2768" y="1337"/>
                </a:lnTo>
                <a:lnTo>
                  <a:pt x="2772" y="1337"/>
                </a:lnTo>
                <a:lnTo>
                  <a:pt x="2778" y="1334"/>
                </a:lnTo>
                <a:lnTo>
                  <a:pt x="2781" y="1333"/>
                </a:lnTo>
                <a:lnTo>
                  <a:pt x="2782" y="1332"/>
                </a:lnTo>
                <a:lnTo>
                  <a:pt x="2786" y="1330"/>
                </a:lnTo>
                <a:lnTo>
                  <a:pt x="2787" y="1329"/>
                </a:lnTo>
                <a:lnTo>
                  <a:pt x="2788" y="1327"/>
                </a:lnTo>
                <a:lnTo>
                  <a:pt x="2790" y="1324"/>
                </a:lnTo>
                <a:lnTo>
                  <a:pt x="2790" y="1321"/>
                </a:lnTo>
                <a:lnTo>
                  <a:pt x="2790" y="1313"/>
                </a:lnTo>
                <a:lnTo>
                  <a:pt x="2790" y="1276"/>
                </a:lnTo>
                <a:lnTo>
                  <a:pt x="2790" y="1169"/>
                </a:lnTo>
                <a:lnTo>
                  <a:pt x="2790" y="1135"/>
                </a:lnTo>
                <a:lnTo>
                  <a:pt x="2790" y="1125"/>
                </a:lnTo>
                <a:lnTo>
                  <a:pt x="2790" y="1116"/>
                </a:lnTo>
                <a:lnTo>
                  <a:pt x="2780" y="1114"/>
                </a:lnTo>
                <a:lnTo>
                  <a:pt x="2770" y="1114"/>
                </a:lnTo>
                <a:lnTo>
                  <a:pt x="2762" y="1114"/>
                </a:lnTo>
                <a:lnTo>
                  <a:pt x="2757" y="1114"/>
                </a:lnTo>
                <a:lnTo>
                  <a:pt x="2752" y="1114"/>
                </a:lnTo>
                <a:lnTo>
                  <a:pt x="2751" y="1112"/>
                </a:lnTo>
                <a:lnTo>
                  <a:pt x="2750" y="1110"/>
                </a:lnTo>
                <a:lnTo>
                  <a:pt x="2749" y="1107"/>
                </a:lnTo>
                <a:lnTo>
                  <a:pt x="2749" y="1105"/>
                </a:lnTo>
                <a:lnTo>
                  <a:pt x="2750" y="1100"/>
                </a:lnTo>
                <a:lnTo>
                  <a:pt x="2751" y="1099"/>
                </a:lnTo>
                <a:lnTo>
                  <a:pt x="2752" y="1097"/>
                </a:lnTo>
                <a:lnTo>
                  <a:pt x="2755" y="1096"/>
                </a:lnTo>
                <a:lnTo>
                  <a:pt x="2756" y="1095"/>
                </a:lnTo>
                <a:lnTo>
                  <a:pt x="2758" y="1094"/>
                </a:lnTo>
                <a:lnTo>
                  <a:pt x="2761" y="1092"/>
                </a:lnTo>
                <a:lnTo>
                  <a:pt x="2763" y="1091"/>
                </a:lnTo>
                <a:lnTo>
                  <a:pt x="2764" y="1090"/>
                </a:lnTo>
                <a:lnTo>
                  <a:pt x="2767" y="1089"/>
                </a:lnTo>
                <a:lnTo>
                  <a:pt x="2769" y="1088"/>
                </a:lnTo>
                <a:lnTo>
                  <a:pt x="2770" y="1086"/>
                </a:lnTo>
                <a:lnTo>
                  <a:pt x="2773" y="1086"/>
                </a:lnTo>
                <a:lnTo>
                  <a:pt x="2775" y="1085"/>
                </a:lnTo>
                <a:lnTo>
                  <a:pt x="2778" y="1083"/>
                </a:lnTo>
                <a:lnTo>
                  <a:pt x="2780" y="1083"/>
                </a:lnTo>
                <a:lnTo>
                  <a:pt x="2781" y="1081"/>
                </a:lnTo>
                <a:lnTo>
                  <a:pt x="2784" y="1079"/>
                </a:lnTo>
                <a:lnTo>
                  <a:pt x="2786" y="1079"/>
                </a:lnTo>
                <a:lnTo>
                  <a:pt x="2788" y="1078"/>
                </a:lnTo>
                <a:lnTo>
                  <a:pt x="2790" y="1075"/>
                </a:lnTo>
                <a:lnTo>
                  <a:pt x="2792" y="1075"/>
                </a:lnTo>
                <a:lnTo>
                  <a:pt x="2795" y="1074"/>
                </a:lnTo>
                <a:lnTo>
                  <a:pt x="2796" y="1073"/>
                </a:lnTo>
                <a:lnTo>
                  <a:pt x="2798" y="1072"/>
                </a:lnTo>
                <a:lnTo>
                  <a:pt x="2801" y="1071"/>
                </a:lnTo>
                <a:lnTo>
                  <a:pt x="2803" y="1069"/>
                </a:lnTo>
                <a:lnTo>
                  <a:pt x="2807" y="1068"/>
                </a:lnTo>
                <a:lnTo>
                  <a:pt x="2809" y="1067"/>
                </a:lnTo>
                <a:lnTo>
                  <a:pt x="2817" y="1062"/>
                </a:lnTo>
                <a:lnTo>
                  <a:pt x="2820" y="1062"/>
                </a:lnTo>
                <a:lnTo>
                  <a:pt x="2822" y="1062"/>
                </a:lnTo>
                <a:lnTo>
                  <a:pt x="2826" y="1063"/>
                </a:lnTo>
                <a:lnTo>
                  <a:pt x="2827" y="1066"/>
                </a:lnTo>
                <a:lnTo>
                  <a:pt x="2828" y="1068"/>
                </a:lnTo>
                <a:lnTo>
                  <a:pt x="2830" y="1071"/>
                </a:lnTo>
                <a:lnTo>
                  <a:pt x="2830" y="1117"/>
                </a:lnTo>
                <a:lnTo>
                  <a:pt x="2831" y="1113"/>
                </a:lnTo>
                <a:lnTo>
                  <a:pt x="2832" y="1112"/>
                </a:lnTo>
                <a:lnTo>
                  <a:pt x="2834" y="1108"/>
                </a:lnTo>
                <a:lnTo>
                  <a:pt x="2836" y="1106"/>
                </a:lnTo>
                <a:lnTo>
                  <a:pt x="2837" y="1105"/>
                </a:lnTo>
                <a:lnTo>
                  <a:pt x="2838" y="1103"/>
                </a:lnTo>
                <a:lnTo>
                  <a:pt x="2840" y="1101"/>
                </a:lnTo>
                <a:lnTo>
                  <a:pt x="2844" y="1096"/>
                </a:lnTo>
                <a:lnTo>
                  <a:pt x="2848" y="1091"/>
                </a:lnTo>
                <a:lnTo>
                  <a:pt x="2851" y="1089"/>
                </a:lnTo>
                <a:lnTo>
                  <a:pt x="2854" y="1088"/>
                </a:lnTo>
                <a:lnTo>
                  <a:pt x="2855" y="1086"/>
                </a:lnTo>
                <a:lnTo>
                  <a:pt x="2857" y="1085"/>
                </a:lnTo>
                <a:lnTo>
                  <a:pt x="2859" y="1084"/>
                </a:lnTo>
                <a:lnTo>
                  <a:pt x="2861" y="1083"/>
                </a:lnTo>
                <a:lnTo>
                  <a:pt x="2863" y="1081"/>
                </a:lnTo>
                <a:lnTo>
                  <a:pt x="2866" y="1080"/>
                </a:lnTo>
                <a:lnTo>
                  <a:pt x="2867" y="1080"/>
                </a:lnTo>
                <a:lnTo>
                  <a:pt x="2869" y="1079"/>
                </a:lnTo>
                <a:lnTo>
                  <a:pt x="2871" y="1078"/>
                </a:lnTo>
                <a:lnTo>
                  <a:pt x="2874" y="1077"/>
                </a:lnTo>
                <a:lnTo>
                  <a:pt x="2876" y="1077"/>
                </a:lnTo>
                <a:lnTo>
                  <a:pt x="2878" y="1075"/>
                </a:lnTo>
                <a:lnTo>
                  <a:pt x="2882" y="1074"/>
                </a:lnTo>
                <a:lnTo>
                  <a:pt x="2884" y="1074"/>
                </a:lnTo>
                <a:lnTo>
                  <a:pt x="2888" y="1073"/>
                </a:lnTo>
                <a:lnTo>
                  <a:pt x="2891" y="1073"/>
                </a:lnTo>
                <a:lnTo>
                  <a:pt x="2906" y="1072"/>
                </a:lnTo>
                <a:lnTo>
                  <a:pt x="2913" y="1073"/>
                </a:lnTo>
                <a:lnTo>
                  <a:pt x="2929" y="1075"/>
                </a:lnTo>
                <a:lnTo>
                  <a:pt x="2930" y="1075"/>
                </a:lnTo>
                <a:lnTo>
                  <a:pt x="2932" y="1077"/>
                </a:lnTo>
                <a:lnTo>
                  <a:pt x="2934" y="1077"/>
                </a:lnTo>
                <a:lnTo>
                  <a:pt x="2937" y="1078"/>
                </a:lnTo>
                <a:lnTo>
                  <a:pt x="2941" y="1079"/>
                </a:lnTo>
                <a:lnTo>
                  <a:pt x="2942" y="1080"/>
                </a:lnTo>
                <a:lnTo>
                  <a:pt x="2946" y="1081"/>
                </a:lnTo>
                <a:lnTo>
                  <a:pt x="2949" y="1084"/>
                </a:lnTo>
                <a:lnTo>
                  <a:pt x="2953" y="1086"/>
                </a:lnTo>
                <a:lnTo>
                  <a:pt x="2954" y="1088"/>
                </a:lnTo>
                <a:lnTo>
                  <a:pt x="2955" y="1088"/>
                </a:lnTo>
                <a:lnTo>
                  <a:pt x="2958" y="1090"/>
                </a:lnTo>
                <a:lnTo>
                  <a:pt x="2961" y="1094"/>
                </a:lnTo>
                <a:lnTo>
                  <a:pt x="2966" y="1097"/>
                </a:lnTo>
                <a:lnTo>
                  <a:pt x="2967" y="1100"/>
                </a:lnTo>
                <a:lnTo>
                  <a:pt x="2970" y="1102"/>
                </a:lnTo>
                <a:lnTo>
                  <a:pt x="2971" y="1103"/>
                </a:lnTo>
                <a:lnTo>
                  <a:pt x="2972" y="1106"/>
                </a:lnTo>
                <a:lnTo>
                  <a:pt x="2973" y="1107"/>
                </a:lnTo>
                <a:lnTo>
                  <a:pt x="2975" y="1110"/>
                </a:lnTo>
                <a:lnTo>
                  <a:pt x="2976" y="1112"/>
                </a:lnTo>
                <a:lnTo>
                  <a:pt x="2977" y="1114"/>
                </a:lnTo>
                <a:lnTo>
                  <a:pt x="2978" y="1117"/>
                </a:lnTo>
                <a:lnTo>
                  <a:pt x="2979" y="1119"/>
                </a:lnTo>
                <a:lnTo>
                  <a:pt x="2981" y="1122"/>
                </a:lnTo>
                <a:lnTo>
                  <a:pt x="2981" y="1124"/>
                </a:lnTo>
                <a:lnTo>
                  <a:pt x="2982" y="1128"/>
                </a:lnTo>
                <a:lnTo>
                  <a:pt x="2983" y="1130"/>
                </a:lnTo>
                <a:lnTo>
                  <a:pt x="2983" y="1133"/>
                </a:lnTo>
                <a:lnTo>
                  <a:pt x="2984" y="1136"/>
                </a:lnTo>
                <a:lnTo>
                  <a:pt x="2984" y="1143"/>
                </a:lnTo>
                <a:lnTo>
                  <a:pt x="2985" y="1149"/>
                </a:lnTo>
                <a:lnTo>
                  <a:pt x="2984" y="1155"/>
                </a:lnTo>
                <a:lnTo>
                  <a:pt x="2984" y="1179"/>
                </a:lnTo>
                <a:lnTo>
                  <a:pt x="2984" y="1276"/>
                </a:lnTo>
                <a:lnTo>
                  <a:pt x="2984" y="1324"/>
                </a:lnTo>
                <a:lnTo>
                  <a:pt x="2985" y="1328"/>
                </a:lnTo>
                <a:lnTo>
                  <a:pt x="2989" y="1330"/>
                </a:lnTo>
                <a:lnTo>
                  <a:pt x="2992" y="1330"/>
                </a:lnTo>
                <a:lnTo>
                  <a:pt x="2996" y="1333"/>
                </a:lnTo>
                <a:lnTo>
                  <a:pt x="2999" y="1334"/>
                </a:lnTo>
                <a:lnTo>
                  <a:pt x="3004" y="1335"/>
                </a:lnTo>
                <a:lnTo>
                  <a:pt x="3006" y="1337"/>
                </a:lnTo>
                <a:lnTo>
                  <a:pt x="3008" y="1337"/>
                </a:lnTo>
                <a:lnTo>
                  <a:pt x="3013" y="1339"/>
                </a:lnTo>
                <a:lnTo>
                  <a:pt x="3017" y="1340"/>
                </a:lnTo>
                <a:lnTo>
                  <a:pt x="3019" y="1341"/>
                </a:lnTo>
                <a:lnTo>
                  <a:pt x="3023" y="1343"/>
                </a:lnTo>
                <a:lnTo>
                  <a:pt x="3024" y="1345"/>
                </a:lnTo>
                <a:lnTo>
                  <a:pt x="3027" y="1348"/>
                </a:lnTo>
                <a:lnTo>
                  <a:pt x="3027" y="1349"/>
                </a:lnTo>
                <a:lnTo>
                  <a:pt x="3028" y="1352"/>
                </a:lnTo>
                <a:lnTo>
                  <a:pt x="3027" y="1359"/>
                </a:lnTo>
                <a:lnTo>
                  <a:pt x="3023" y="1361"/>
                </a:lnTo>
                <a:lnTo>
                  <a:pt x="3019" y="1363"/>
                </a:lnTo>
                <a:lnTo>
                  <a:pt x="3017" y="1363"/>
                </a:lnTo>
                <a:lnTo>
                  <a:pt x="3012" y="1365"/>
                </a:lnTo>
                <a:lnTo>
                  <a:pt x="3006" y="1365"/>
                </a:lnTo>
                <a:lnTo>
                  <a:pt x="2994" y="1365"/>
                </a:lnTo>
                <a:lnTo>
                  <a:pt x="2934" y="1365"/>
                </a:lnTo>
                <a:lnTo>
                  <a:pt x="2925" y="1365"/>
                </a:lnTo>
                <a:lnTo>
                  <a:pt x="2915" y="1363"/>
                </a:lnTo>
                <a:lnTo>
                  <a:pt x="2912" y="1363"/>
                </a:lnTo>
                <a:lnTo>
                  <a:pt x="2908" y="1362"/>
                </a:lnTo>
                <a:lnTo>
                  <a:pt x="2906" y="1360"/>
                </a:lnTo>
                <a:lnTo>
                  <a:pt x="2903" y="1357"/>
                </a:lnTo>
                <a:lnTo>
                  <a:pt x="2902" y="1355"/>
                </a:lnTo>
                <a:lnTo>
                  <a:pt x="2902" y="1352"/>
                </a:lnTo>
                <a:lnTo>
                  <a:pt x="2903" y="1346"/>
                </a:lnTo>
                <a:lnTo>
                  <a:pt x="2907" y="1343"/>
                </a:lnTo>
                <a:lnTo>
                  <a:pt x="2911" y="1341"/>
                </a:lnTo>
                <a:lnTo>
                  <a:pt x="2914" y="1340"/>
                </a:lnTo>
                <a:lnTo>
                  <a:pt x="2917" y="1339"/>
                </a:lnTo>
                <a:lnTo>
                  <a:pt x="2919" y="1338"/>
                </a:lnTo>
                <a:lnTo>
                  <a:pt x="2925" y="1337"/>
                </a:lnTo>
                <a:lnTo>
                  <a:pt x="2931" y="1334"/>
                </a:lnTo>
                <a:lnTo>
                  <a:pt x="2937" y="1332"/>
                </a:lnTo>
                <a:lnTo>
                  <a:pt x="2941" y="1330"/>
                </a:lnTo>
                <a:lnTo>
                  <a:pt x="2943" y="1329"/>
                </a:lnTo>
                <a:close/>
                <a:moveTo>
                  <a:pt x="649" y="1073"/>
                </a:moveTo>
                <a:lnTo>
                  <a:pt x="649" y="1090"/>
                </a:lnTo>
                <a:lnTo>
                  <a:pt x="650" y="1101"/>
                </a:lnTo>
                <a:lnTo>
                  <a:pt x="650" y="1107"/>
                </a:lnTo>
                <a:lnTo>
                  <a:pt x="651" y="1121"/>
                </a:lnTo>
                <a:lnTo>
                  <a:pt x="651" y="1128"/>
                </a:lnTo>
                <a:lnTo>
                  <a:pt x="653" y="1140"/>
                </a:lnTo>
                <a:lnTo>
                  <a:pt x="653" y="1149"/>
                </a:lnTo>
                <a:lnTo>
                  <a:pt x="653" y="1151"/>
                </a:lnTo>
                <a:lnTo>
                  <a:pt x="653" y="1153"/>
                </a:lnTo>
                <a:lnTo>
                  <a:pt x="651" y="1157"/>
                </a:lnTo>
                <a:lnTo>
                  <a:pt x="650" y="1160"/>
                </a:lnTo>
                <a:lnTo>
                  <a:pt x="649" y="1161"/>
                </a:lnTo>
                <a:lnTo>
                  <a:pt x="647" y="1164"/>
                </a:lnTo>
                <a:lnTo>
                  <a:pt x="645" y="1166"/>
                </a:lnTo>
                <a:lnTo>
                  <a:pt x="643" y="1166"/>
                </a:lnTo>
                <a:lnTo>
                  <a:pt x="642" y="1166"/>
                </a:lnTo>
                <a:lnTo>
                  <a:pt x="641" y="1167"/>
                </a:lnTo>
                <a:lnTo>
                  <a:pt x="637" y="1167"/>
                </a:lnTo>
                <a:lnTo>
                  <a:pt x="635" y="1166"/>
                </a:lnTo>
                <a:lnTo>
                  <a:pt x="632" y="1164"/>
                </a:lnTo>
                <a:lnTo>
                  <a:pt x="629" y="1161"/>
                </a:lnTo>
                <a:lnTo>
                  <a:pt x="626" y="1160"/>
                </a:lnTo>
                <a:lnTo>
                  <a:pt x="625" y="1157"/>
                </a:lnTo>
                <a:lnTo>
                  <a:pt x="625" y="1155"/>
                </a:lnTo>
                <a:lnTo>
                  <a:pt x="624" y="1152"/>
                </a:lnTo>
                <a:lnTo>
                  <a:pt x="621" y="1145"/>
                </a:lnTo>
                <a:lnTo>
                  <a:pt x="620" y="1141"/>
                </a:lnTo>
                <a:lnTo>
                  <a:pt x="620" y="1139"/>
                </a:lnTo>
                <a:lnTo>
                  <a:pt x="619" y="1138"/>
                </a:lnTo>
                <a:lnTo>
                  <a:pt x="619" y="1135"/>
                </a:lnTo>
                <a:lnTo>
                  <a:pt x="618" y="1133"/>
                </a:lnTo>
                <a:lnTo>
                  <a:pt x="618" y="1132"/>
                </a:lnTo>
                <a:lnTo>
                  <a:pt x="613" y="1116"/>
                </a:lnTo>
                <a:lnTo>
                  <a:pt x="602" y="1118"/>
                </a:lnTo>
                <a:lnTo>
                  <a:pt x="598" y="1119"/>
                </a:lnTo>
                <a:lnTo>
                  <a:pt x="596" y="1121"/>
                </a:lnTo>
                <a:lnTo>
                  <a:pt x="593" y="1122"/>
                </a:lnTo>
                <a:lnTo>
                  <a:pt x="592" y="1124"/>
                </a:lnTo>
                <a:lnTo>
                  <a:pt x="591" y="1125"/>
                </a:lnTo>
                <a:lnTo>
                  <a:pt x="587" y="1127"/>
                </a:lnTo>
                <a:lnTo>
                  <a:pt x="586" y="1128"/>
                </a:lnTo>
                <a:lnTo>
                  <a:pt x="584" y="1130"/>
                </a:lnTo>
                <a:lnTo>
                  <a:pt x="577" y="1136"/>
                </a:lnTo>
                <a:lnTo>
                  <a:pt x="574" y="1140"/>
                </a:lnTo>
                <a:lnTo>
                  <a:pt x="572" y="1144"/>
                </a:lnTo>
                <a:lnTo>
                  <a:pt x="567" y="1152"/>
                </a:lnTo>
                <a:lnTo>
                  <a:pt x="564" y="1156"/>
                </a:lnTo>
                <a:lnTo>
                  <a:pt x="562" y="1161"/>
                </a:lnTo>
                <a:lnTo>
                  <a:pt x="562" y="1164"/>
                </a:lnTo>
                <a:lnTo>
                  <a:pt x="562" y="1167"/>
                </a:lnTo>
                <a:lnTo>
                  <a:pt x="562" y="1171"/>
                </a:lnTo>
                <a:lnTo>
                  <a:pt x="561" y="1177"/>
                </a:lnTo>
                <a:lnTo>
                  <a:pt x="562" y="1190"/>
                </a:lnTo>
                <a:lnTo>
                  <a:pt x="562" y="1247"/>
                </a:lnTo>
                <a:lnTo>
                  <a:pt x="562" y="1295"/>
                </a:lnTo>
                <a:lnTo>
                  <a:pt x="562" y="1322"/>
                </a:lnTo>
                <a:lnTo>
                  <a:pt x="562" y="1326"/>
                </a:lnTo>
                <a:lnTo>
                  <a:pt x="563" y="1328"/>
                </a:lnTo>
                <a:lnTo>
                  <a:pt x="567" y="1330"/>
                </a:lnTo>
                <a:lnTo>
                  <a:pt x="568" y="1330"/>
                </a:lnTo>
                <a:lnTo>
                  <a:pt x="575" y="1333"/>
                </a:lnTo>
                <a:lnTo>
                  <a:pt x="581" y="1335"/>
                </a:lnTo>
                <a:lnTo>
                  <a:pt x="586" y="1337"/>
                </a:lnTo>
                <a:lnTo>
                  <a:pt x="590" y="1338"/>
                </a:lnTo>
                <a:lnTo>
                  <a:pt x="592" y="1339"/>
                </a:lnTo>
                <a:lnTo>
                  <a:pt x="593" y="1340"/>
                </a:lnTo>
                <a:lnTo>
                  <a:pt x="600" y="1343"/>
                </a:lnTo>
                <a:lnTo>
                  <a:pt x="602" y="1345"/>
                </a:lnTo>
                <a:lnTo>
                  <a:pt x="603" y="1349"/>
                </a:lnTo>
                <a:lnTo>
                  <a:pt x="604" y="1349"/>
                </a:lnTo>
                <a:lnTo>
                  <a:pt x="604" y="1351"/>
                </a:lnTo>
                <a:lnTo>
                  <a:pt x="604" y="1355"/>
                </a:lnTo>
                <a:lnTo>
                  <a:pt x="604" y="1357"/>
                </a:lnTo>
                <a:lnTo>
                  <a:pt x="602" y="1360"/>
                </a:lnTo>
                <a:lnTo>
                  <a:pt x="601" y="1361"/>
                </a:lnTo>
                <a:lnTo>
                  <a:pt x="595" y="1363"/>
                </a:lnTo>
                <a:lnTo>
                  <a:pt x="586" y="1365"/>
                </a:lnTo>
                <a:lnTo>
                  <a:pt x="579" y="1365"/>
                </a:lnTo>
                <a:lnTo>
                  <a:pt x="509" y="1365"/>
                </a:lnTo>
                <a:lnTo>
                  <a:pt x="500" y="1365"/>
                </a:lnTo>
                <a:lnTo>
                  <a:pt x="492" y="1363"/>
                </a:lnTo>
                <a:lnTo>
                  <a:pt x="485" y="1362"/>
                </a:lnTo>
                <a:lnTo>
                  <a:pt x="482" y="1361"/>
                </a:lnTo>
                <a:lnTo>
                  <a:pt x="481" y="1359"/>
                </a:lnTo>
                <a:lnTo>
                  <a:pt x="480" y="1357"/>
                </a:lnTo>
                <a:lnTo>
                  <a:pt x="479" y="1355"/>
                </a:lnTo>
                <a:lnTo>
                  <a:pt x="479" y="1352"/>
                </a:lnTo>
                <a:lnTo>
                  <a:pt x="479" y="1350"/>
                </a:lnTo>
                <a:lnTo>
                  <a:pt x="480" y="1348"/>
                </a:lnTo>
                <a:lnTo>
                  <a:pt x="481" y="1345"/>
                </a:lnTo>
                <a:lnTo>
                  <a:pt x="482" y="1344"/>
                </a:lnTo>
                <a:lnTo>
                  <a:pt x="483" y="1343"/>
                </a:lnTo>
                <a:lnTo>
                  <a:pt x="498" y="1338"/>
                </a:lnTo>
                <a:lnTo>
                  <a:pt x="503" y="1337"/>
                </a:lnTo>
                <a:lnTo>
                  <a:pt x="505" y="1335"/>
                </a:lnTo>
                <a:lnTo>
                  <a:pt x="512" y="1333"/>
                </a:lnTo>
                <a:lnTo>
                  <a:pt x="517" y="1330"/>
                </a:lnTo>
                <a:lnTo>
                  <a:pt x="520" y="1329"/>
                </a:lnTo>
                <a:lnTo>
                  <a:pt x="520" y="1327"/>
                </a:lnTo>
                <a:lnTo>
                  <a:pt x="521" y="1326"/>
                </a:lnTo>
                <a:lnTo>
                  <a:pt x="521" y="1298"/>
                </a:lnTo>
                <a:lnTo>
                  <a:pt x="521" y="1246"/>
                </a:lnTo>
                <a:lnTo>
                  <a:pt x="521" y="1160"/>
                </a:lnTo>
                <a:lnTo>
                  <a:pt x="521" y="1133"/>
                </a:lnTo>
                <a:lnTo>
                  <a:pt x="521" y="1124"/>
                </a:lnTo>
                <a:lnTo>
                  <a:pt x="521" y="1116"/>
                </a:lnTo>
                <a:lnTo>
                  <a:pt x="512" y="1114"/>
                </a:lnTo>
                <a:lnTo>
                  <a:pt x="503" y="1114"/>
                </a:lnTo>
                <a:lnTo>
                  <a:pt x="493" y="1114"/>
                </a:lnTo>
                <a:lnTo>
                  <a:pt x="488" y="1114"/>
                </a:lnTo>
                <a:lnTo>
                  <a:pt x="485" y="1114"/>
                </a:lnTo>
                <a:lnTo>
                  <a:pt x="482" y="1112"/>
                </a:lnTo>
                <a:lnTo>
                  <a:pt x="481" y="1110"/>
                </a:lnTo>
                <a:lnTo>
                  <a:pt x="480" y="1107"/>
                </a:lnTo>
                <a:lnTo>
                  <a:pt x="480" y="1105"/>
                </a:lnTo>
                <a:lnTo>
                  <a:pt x="481" y="1100"/>
                </a:lnTo>
                <a:lnTo>
                  <a:pt x="483" y="1099"/>
                </a:lnTo>
                <a:lnTo>
                  <a:pt x="485" y="1097"/>
                </a:lnTo>
                <a:lnTo>
                  <a:pt x="486" y="1096"/>
                </a:lnTo>
                <a:lnTo>
                  <a:pt x="488" y="1095"/>
                </a:lnTo>
                <a:lnTo>
                  <a:pt x="490" y="1094"/>
                </a:lnTo>
                <a:lnTo>
                  <a:pt x="492" y="1092"/>
                </a:lnTo>
                <a:lnTo>
                  <a:pt x="493" y="1091"/>
                </a:lnTo>
                <a:lnTo>
                  <a:pt x="496" y="1090"/>
                </a:lnTo>
                <a:lnTo>
                  <a:pt x="498" y="1089"/>
                </a:lnTo>
                <a:lnTo>
                  <a:pt x="500" y="1088"/>
                </a:lnTo>
                <a:lnTo>
                  <a:pt x="503" y="1088"/>
                </a:lnTo>
                <a:lnTo>
                  <a:pt x="504" y="1086"/>
                </a:lnTo>
                <a:lnTo>
                  <a:pt x="506" y="1084"/>
                </a:lnTo>
                <a:lnTo>
                  <a:pt x="509" y="1084"/>
                </a:lnTo>
                <a:lnTo>
                  <a:pt x="511" y="1083"/>
                </a:lnTo>
                <a:lnTo>
                  <a:pt x="512" y="1080"/>
                </a:lnTo>
                <a:lnTo>
                  <a:pt x="515" y="1080"/>
                </a:lnTo>
                <a:lnTo>
                  <a:pt x="517" y="1079"/>
                </a:lnTo>
                <a:lnTo>
                  <a:pt x="519" y="1077"/>
                </a:lnTo>
                <a:lnTo>
                  <a:pt x="521" y="1077"/>
                </a:lnTo>
                <a:lnTo>
                  <a:pt x="523" y="1075"/>
                </a:lnTo>
                <a:lnTo>
                  <a:pt x="526" y="1073"/>
                </a:lnTo>
                <a:lnTo>
                  <a:pt x="528" y="1073"/>
                </a:lnTo>
                <a:lnTo>
                  <a:pt x="531" y="1072"/>
                </a:lnTo>
                <a:lnTo>
                  <a:pt x="532" y="1071"/>
                </a:lnTo>
                <a:lnTo>
                  <a:pt x="534" y="1069"/>
                </a:lnTo>
                <a:lnTo>
                  <a:pt x="537" y="1068"/>
                </a:lnTo>
                <a:lnTo>
                  <a:pt x="538" y="1067"/>
                </a:lnTo>
                <a:lnTo>
                  <a:pt x="540" y="1066"/>
                </a:lnTo>
                <a:lnTo>
                  <a:pt x="543" y="1064"/>
                </a:lnTo>
                <a:lnTo>
                  <a:pt x="545" y="1064"/>
                </a:lnTo>
                <a:lnTo>
                  <a:pt x="549" y="1062"/>
                </a:lnTo>
                <a:lnTo>
                  <a:pt x="551" y="1062"/>
                </a:lnTo>
                <a:lnTo>
                  <a:pt x="555" y="1062"/>
                </a:lnTo>
                <a:lnTo>
                  <a:pt x="557" y="1063"/>
                </a:lnTo>
                <a:lnTo>
                  <a:pt x="561" y="1068"/>
                </a:lnTo>
                <a:lnTo>
                  <a:pt x="562" y="1071"/>
                </a:lnTo>
                <a:lnTo>
                  <a:pt x="562" y="1074"/>
                </a:lnTo>
                <a:lnTo>
                  <a:pt x="562" y="1083"/>
                </a:lnTo>
                <a:lnTo>
                  <a:pt x="562" y="1114"/>
                </a:lnTo>
                <a:lnTo>
                  <a:pt x="563" y="1113"/>
                </a:lnTo>
                <a:lnTo>
                  <a:pt x="563" y="1111"/>
                </a:lnTo>
                <a:lnTo>
                  <a:pt x="564" y="1108"/>
                </a:lnTo>
                <a:lnTo>
                  <a:pt x="567" y="1107"/>
                </a:lnTo>
                <a:lnTo>
                  <a:pt x="568" y="1106"/>
                </a:lnTo>
                <a:lnTo>
                  <a:pt x="571" y="1102"/>
                </a:lnTo>
                <a:lnTo>
                  <a:pt x="573" y="1100"/>
                </a:lnTo>
                <a:lnTo>
                  <a:pt x="577" y="1096"/>
                </a:lnTo>
                <a:lnTo>
                  <a:pt x="580" y="1090"/>
                </a:lnTo>
                <a:lnTo>
                  <a:pt x="584" y="1088"/>
                </a:lnTo>
                <a:lnTo>
                  <a:pt x="586" y="1086"/>
                </a:lnTo>
                <a:lnTo>
                  <a:pt x="589" y="1085"/>
                </a:lnTo>
                <a:lnTo>
                  <a:pt x="590" y="1084"/>
                </a:lnTo>
                <a:lnTo>
                  <a:pt x="592" y="1083"/>
                </a:lnTo>
                <a:lnTo>
                  <a:pt x="595" y="1081"/>
                </a:lnTo>
                <a:lnTo>
                  <a:pt x="600" y="1079"/>
                </a:lnTo>
                <a:lnTo>
                  <a:pt x="602" y="1078"/>
                </a:lnTo>
                <a:lnTo>
                  <a:pt x="618" y="1073"/>
                </a:lnTo>
                <a:lnTo>
                  <a:pt x="621" y="1073"/>
                </a:lnTo>
                <a:lnTo>
                  <a:pt x="627" y="1072"/>
                </a:lnTo>
                <a:lnTo>
                  <a:pt x="635" y="1072"/>
                </a:lnTo>
                <a:lnTo>
                  <a:pt x="649" y="1073"/>
                </a:lnTo>
                <a:close/>
                <a:moveTo>
                  <a:pt x="4297" y="1062"/>
                </a:moveTo>
                <a:lnTo>
                  <a:pt x="4301" y="1062"/>
                </a:lnTo>
                <a:lnTo>
                  <a:pt x="4303" y="1063"/>
                </a:lnTo>
                <a:lnTo>
                  <a:pt x="4305" y="1064"/>
                </a:lnTo>
                <a:lnTo>
                  <a:pt x="4307" y="1067"/>
                </a:lnTo>
                <a:lnTo>
                  <a:pt x="4308" y="1069"/>
                </a:lnTo>
                <a:lnTo>
                  <a:pt x="4308" y="1073"/>
                </a:lnTo>
                <a:lnTo>
                  <a:pt x="4308" y="1080"/>
                </a:lnTo>
                <a:lnTo>
                  <a:pt x="4308" y="1111"/>
                </a:lnTo>
                <a:lnTo>
                  <a:pt x="4316" y="1102"/>
                </a:lnTo>
                <a:lnTo>
                  <a:pt x="4327" y="1091"/>
                </a:lnTo>
                <a:lnTo>
                  <a:pt x="4340" y="1081"/>
                </a:lnTo>
                <a:lnTo>
                  <a:pt x="4343" y="1081"/>
                </a:lnTo>
                <a:lnTo>
                  <a:pt x="4345" y="1080"/>
                </a:lnTo>
                <a:lnTo>
                  <a:pt x="4348" y="1079"/>
                </a:lnTo>
                <a:lnTo>
                  <a:pt x="4349" y="1078"/>
                </a:lnTo>
                <a:lnTo>
                  <a:pt x="4355" y="1075"/>
                </a:lnTo>
                <a:lnTo>
                  <a:pt x="4362" y="1074"/>
                </a:lnTo>
                <a:lnTo>
                  <a:pt x="4369" y="1072"/>
                </a:lnTo>
                <a:lnTo>
                  <a:pt x="4378" y="1072"/>
                </a:lnTo>
                <a:lnTo>
                  <a:pt x="4390" y="1072"/>
                </a:lnTo>
                <a:lnTo>
                  <a:pt x="4395" y="1073"/>
                </a:lnTo>
                <a:lnTo>
                  <a:pt x="4398" y="1073"/>
                </a:lnTo>
                <a:lnTo>
                  <a:pt x="4401" y="1073"/>
                </a:lnTo>
                <a:lnTo>
                  <a:pt x="4403" y="1074"/>
                </a:lnTo>
                <a:lnTo>
                  <a:pt x="4406" y="1074"/>
                </a:lnTo>
                <a:lnTo>
                  <a:pt x="4408" y="1075"/>
                </a:lnTo>
                <a:lnTo>
                  <a:pt x="4409" y="1075"/>
                </a:lnTo>
                <a:lnTo>
                  <a:pt x="4412" y="1077"/>
                </a:lnTo>
                <a:lnTo>
                  <a:pt x="4415" y="1078"/>
                </a:lnTo>
                <a:lnTo>
                  <a:pt x="4423" y="1081"/>
                </a:lnTo>
                <a:lnTo>
                  <a:pt x="4430" y="1085"/>
                </a:lnTo>
                <a:lnTo>
                  <a:pt x="4437" y="1090"/>
                </a:lnTo>
                <a:lnTo>
                  <a:pt x="4442" y="1096"/>
                </a:lnTo>
                <a:lnTo>
                  <a:pt x="4448" y="1102"/>
                </a:lnTo>
                <a:lnTo>
                  <a:pt x="4453" y="1108"/>
                </a:lnTo>
                <a:lnTo>
                  <a:pt x="4456" y="1116"/>
                </a:lnTo>
                <a:lnTo>
                  <a:pt x="4460" y="1124"/>
                </a:lnTo>
                <a:lnTo>
                  <a:pt x="4460" y="1129"/>
                </a:lnTo>
                <a:lnTo>
                  <a:pt x="4461" y="1134"/>
                </a:lnTo>
                <a:lnTo>
                  <a:pt x="4463" y="1140"/>
                </a:lnTo>
                <a:lnTo>
                  <a:pt x="4463" y="1146"/>
                </a:lnTo>
                <a:lnTo>
                  <a:pt x="4464" y="1153"/>
                </a:lnTo>
                <a:lnTo>
                  <a:pt x="4464" y="1167"/>
                </a:lnTo>
                <a:lnTo>
                  <a:pt x="4464" y="1180"/>
                </a:lnTo>
                <a:lnTo>
                  <a:pt x="4464" y="1277"/>
                </a:lnTo>
                <a:lnTo>
                  <a:pt x="4464" y="1326"/>
                </a:lnTo>
                <a:lnTo>
                  <a:pt x="4464" y="1328"/>
                </a:lnTo>
                <a:lnTo>
                  <a:pt x="4469" y="1330"/>
                </a:lnTo>
                <a:lnTo>
                  <a:pt x="4473" y="1332"/>
                </a:lnTo>
                <a:lnTo>
                  <a:pt x="4478" y="1334"/>
                </a:lnTo>
                <a:lnTo>
                  <a:pt x="4482" y="1335"/>
                </a:lnTo>
                <a:lnTo>
                  <a:pt x="4488" y="1337"/>
                </a:lnTo>
                <a:lnTo>
                  <a:pt x="4493" y="1339"/>
                </a:lnTo>
                <a:lnTo>
                  <a:pt x="4496" y="1340"/>
                </a:lnTo>
                <a:lnTo>
                  <a:pt x="4500" y="1341"/>
                </a:lnTo>
                <a:lnTo>
                  <a:pt x="4502" y="1344"/>
                </a:lnTo>
                <a:lnTo>
                  <a:pt x="4504" y="1346"/>
                </a:lnTo>
                <a:lnTo>
                  <a:pt x="4505" y="1350"/>
                </a:lnTo>
                <a:lnTo>
                  <a:pt x="4506" y="1354"/>
                </a:lnTo>
                <a:lnTo>
                  <a:pt x="4505" y="1356"/>
                </a:lnTo>
                <a:lnTo>
                  <a:pt x="4505" y="1357"/>
                </a:lnTo>
                <a:lnTo>
                  <a:pt x="4504" y="1360"/>
                </a:lnTo>
                <a:lnTo>
                  <a:pt x="4501" y="1361"/>
                </a:lnTo>
                <a:lnTo>
                  <a:pt x="4499" y="1362"/>
                </a:lnTo>
                <a:lnTo>
                  <a:pt x="4495" y="1363"/>
                </a:lnTo>
                <a:lnTo>
                  <a:pt x="4488" y="1363"/>
                </a:lnTo>
                <a:lnTo>
                  <a:pt x="4479" y="1365"/>
                </a:lnTo>
                <a:lnTo>
                  <a:pt x="4409" y="1365"/>
                </a:lnTo>
                <a:lnTo>
                  <a:pt x="4401" y="1365"/>
                </a:lnTo>
                <a:lnTo>
                  <a:pt x="4397" y="1363"/>
                </a:lnTo>
                <a:lnTo>
                  <a:pt x="4392" y="1363"/>
                </a:lnTo>
                <a:lnTo>
                  <a:pt x="4389" y="1363"/>
                </a:lnTo>
                <a:lnTo>
                  <a:pt x="4385" y="1362"/>
                </a:lnTo>
                <a:lnTo>
                  <a:pt x="4384" y="1361"/>
                </a:lnTo>
                <a:lnTo>
                  <a:pt x="4383" y="1360"/>
                </a:lnTo>
                <a:lnTo>
                  <a:pt x="4383" y="1359"/>
                </a:lnTo>
                <a:lnTo>
                  <a:pt x="4382" y="1357"/>
                </a:lnTo>
                <a:lnTo>
                  <a:pt x="4382" y="1356"/>
                </a:lnTo>
                <a:lnTo>
                  <a:pt x="4380" y="1355"/>
                </a:lnTo>
                <a:lnTo>
                  <a:pt x="4380" y="1352"/>
                </a:lnTo>
                <a:lnTo>
                  <a:pt x="4382" y="1346"/>
                </a:lnTo>
                <a:lnTo>
                  <a:pt x="4383" y="1345"/>
                </a:lnTo>
                <a:lnTo>
                  <a:pt x="4383" y="1344"/>
                </a:lnTo>
                <a:lnTo>
                  <a:pt x="4385" y="1343"/>
                </a:lnTo>
                <a:lnTo>
                  <a:pt x="4395" y="1339"/>
                </a:lnTo>
                <a:lnTo>
                  <a:pt x="4396" y="1338"/>
                </a:lnTo>
                <a:lnTo>
                  <a:pt x="4400" y="1337"/>
                </a:lnTo>
                <a:lnTo>
                  <a:pt x="4403" y="1337"/>
                </a:lnTo>
                <a:lnTo>
                  <a:pt x="4406" y="1335"/>
                </a:lnTo>
                <a:lnTo>
                  <a:pt x="4407" y="1334"/>
                </a:lnTo>
                <a:lnTo>
                  <a:pt x="4409" y="1334"/>
                </a:lnTo>
                <a:lnTo>
                  <a:pt x="4411" y="1333"/>
                </a:lnTo>
                <a:lnTo>
                  <a:pt x="4414" y="1332"/>
                </a:lnTo>
                <a:lnTo>
                  <a:pt x="4415" y="1332"/>
                </a:lnTo>
                <a:lnTo>
                  <a:pt x="4418" y="1330"/>
                </a:lnTo>
                <a:lnTo>
                  <a:pt x="4421" y="1328"/>
                </a:lnTo>
                <a:lnTo>
                  <a:pt x="4421" y="1326"/>
                </a:lnTo>
                <a:lnTo>
                  <a:pt x="4423" y="1261"/>
                </a:lnTo>
                <a:lnTo>
                  <a:pt x="4423" y="1179"/>
                </a:lnTo>
                <a:lnTo>
                  <a:pt x="4423" y="1157"/>
                </a:lnTo>
                <a:lnTo>
                  <a:pt x="4423" y="1151"/>
                </a:lnTo>
                <a:lnTo>
                  <a:pt x="4421" y="1146"/>
                </a:lnTo>
                <a:lnTo>
                  <a:pt x="4420" y="1138"/>
                </a:lnTo>
                <a:lnTo>
                  <a:pt x="4419" y="1135"/>
                </a:lnTo>
                <a:lnTo>
                  <a:pt x="4418" y="1133"/>
                </a:lnTo>
                <a:lnTo>
                  <a:pt x="4417" y="1132"/>
                </a:lnTo>
                <a:lnTo>
                  <a:pt x="4415" y="1130"/>
                </a:lnTo>
                <a:lnTo>
                  <a:pt x="4413" y="1128"/>
                </a:lnTo>
                <a:lnTo>
                  <a:pt x="4412" y="1127"/>
                </a:lnTo>
                <a:lnTo>
                  <a:pt x="4409" y="1124"/>
                </a:lnTo>
                <a:lnTo>
                  <a:pt x="4407" y="1122"/>
                </a:lnTo>
                <a:lnTo>
                  <a:pt x="4406" y="1121"/>
                </a:lnTo>
                <a:lnTo>
                  <a:pt x="4402" y="1119"/>
                </a:lnTo>
                <a:lnTo>
                  <a:pt x="4400" y="1117"/>
                </a:lnTo>
                <a:lnTo>
                  <a:pt x="4396" y="1116"/>
                </a:lnTo>
                <a:lnTo>
                  <a:pt x="4394" y="1116"/>
                </a:lnTo>
                <a:lnTo>
                  <a:pt x="4392" y="1114"/>
                </a:lnTo>
                <a:lnTo>
                  <a:pt x="4391" y="1114"/>
                </a:lnTo>
                <a:lnTo>
                  <a:pt x="4389" y="1113"/>
                </a:lnTo>
                <a:lnTo>
                  <a:pt x="4386" y="1113"/>
                </a:lnTo>
                <a:lnTo>
                  <a:pt x="4384" y="1112"/>
                </a:lnTo>
                <a:lnTo>
                  <a:pt x="4379" y="1112"/>
                </a:lnTo>
                <a:lnTo>
                  <a:pt x="4371" y="1112"/>
                </a:lnTo>
                <a:lnTo>
                  <a:pt x="4367" y="1112"/>
                </a:lnTo>
                <a:lnTo>
                  <a:pt x="4363" y="1113"/>
                </a:lnTo>
                <a:lnTo>
                  <a:pt x="4362" y="1113"/>
                </a:lnTo>
                <a:lnTo>
                  <a:pt x="4360" y="1114"/>
                </a:lnTo>
                <a:lnTo>
                  <a:pt x="4354" y="1116"/>
                </a:lnTo>
                <a:lnTo>
                  <a:pt x="4350" y="1117"/>
                </a:lnTo>
                <a:lnTo>
                  <a:pt x="4346" y="1119"/>
                </a:lnTo>
                <a:lnTo>
                  <a:pt x="4344" y="1121"/>
                </a:lnTo>
                <a:lnTo>
                  <a:pt x="4342" y="1122"/>
                </a:lnTo>
                <a:lnTo>
                  <a:pt x="4339" y="1123"/>
                </a:lnTo>
                <a:lnTo>
                  <a:pt x="4338" y="1124"/>
                </a:lnTo>
                <a:lnTo>
                  <a:pt x="4337" y="1127"/>
                </a:lnTo>
                <a:lnTo>
                  <a:pt x="4334" y="1128"/>
                </a:lnTo>
                <a:lnTo>
                  <a:pt x="4330" y="1133"/>
                </a:lnTo>
                <a:lnTo>
                  <a:pt x="4325" y="1136"/>
                </a:lnTo>
                <a:lnTo>
                  <a:pt x="4322" y="1140"/>
                </a:lnTo>
                <a:lnTo>
                  <a:pt x="4321" y="1141"/>
                </a:lnTo>
                <a:lnTo>
                  <a:pt x="4320" y="1144"/>
                </a:lnTo>
                <a:lnTo>
                  <a:pt x="4319" y="1145"/>
                </a:lnTo>
                <a:lnTo>
                  <a:pt x="4319" y="1147"/>
                </a:lnTo>
                <a:lnTo>
                  <a:pt x="4316" y="1150"/>
                </a:lnTo>
                <a:lnTo>
                  <a:pt x="4315" y="1152"/>
                </a:lnTo>
                <a:lnTo>
                  <a:pt x="4315" y="1155"/>
                </a:lnTo>
                <a:lnTo>
                  <a:pt x="4314" y="1157"/>
                </a:lnTo>
                <a:lnTo>
                  <a:pt x="4313" y="1161"/>
                </a:lnTo>
                <a:lnTo>
                  <a:pt x="4311" y="1162"/>
                </a:lnTo>
                <a:lnTo>
                  <a:pt x="4311" y="1164"/>
                </a:lnTo>
                <a:lnTo>
                  <a:pt x="4310" y="1167"/>
                </a:lnTo>
                <a:lnTo>
                  <a:pt x="4310" y="1169"/>
                </a:lnTo>
                <a:lnTo>
                  <a:pt x="4309" y="1177"/>
                </a:lnTo>
                <a:lnTo>
                  <a:pt x="4308" y="1184"/>
                </a:lnTo>
                <a:lnTo>
                  <a:pt x="4308" y="1200"/>
                </a:lnTo>
                <a:lnTo>
                  <a:pt x="4308" y="1260"/>
                </a:lnTo>
                <a:lnTo>
                  <a:pt x="4308" y="1301"/>
                </a:lnTo>
                <a:lnTo>
                  <a:pt x="4308" y="1324"/>
                </a:lnTo>
                <a:lnTo>
                  <a:pt x="4309" y="1328"/>
                </a:lnTo>
                <a:lnTo>
                  <a:pt x="4311" y="1329"/>
                </a:lnTo>
                <a:lnTo>
                  <a:pt x="4314" y="1330"/>
                </a:lnTo>
                <a:lnTo>
                  <a:pt x="4320" y="1333"/>
                </a:lnTo>
                <a:lnTo>
                  <a:pt x="4324" y="1334"/>
                </a:lnTo>
                <a:lnTo>
                  <a:pt x="4325" y="1334"/>
                </a:lnTo>
                <a:lnTo>
                  <a:pt x="4327" y="1335"/>
                </a:lnTo>
                <a:lnTo>
                  <a:pt x="4328" y="1335"/>
                </a:lnTo>
                <a:lnTo>
                  <a:pt x="4333" y="1337"/>
                </a:lnTo>
                <a:lnTo>
                  <a:pt x="4334" y="1338"/>
                </a:lnTo>
                <a:lnTo>
                  <a:pt x="4338" y="1339"/>
                </a:lnTo>
                <a:lnTo>
                  <a:pt x="4344" y="1341"/>
                </a:lnTo>
                <a:lnTo>
                  <a:pt x="4348" y="1343"/>
                </a:lnTo>
                <a:lnTo>
                  <a:pt x="4348" y="1344"/>
                </a:lnTo>
                <a:lnTo>
                  <a:pt x="4349" y="1346"/>
                </a:lnTo>
                <a:lnTo>
                  <a:pt x="4350" y="1348"/>
                </a:lnTo>
                <a:lnTo>
                  <a:pt x="4350" y="1349"/>
                </a:lnTo>
                <a:lnTo>
                  <a:pt x="4350" y="1351"/>
                </a:lnTo>
                <a:lnTo>
                  <a:pt x="4350" y="1355"/>
                </a:lnTo>
                <a:lnTo>
                  <a:pt x="4349" y="1359"/>
                </a:lnTo>
                <a:lnTo>
                  <a:pt x="4346" y="1361"/>
                </a:lnTo>
                <a:lnTo>
                  <a:pt x="4345" y="1362"/>
                </a:lnTo>
                <a:lnTo>
                  <a:pt x="4343" y="1362"/>
                </a:lnTo>
                <a:lnTo>
                  <a:pt x="4338" y="1363"/>
                </a:lnTo>
                <a:lnTo>
                  <a:pt x="4332" y="1365"/>
                </a:lnTo>
                <a:lnTo>
                  <a:pt x="4319" y="1365"/>
                </a:lnTo>
                <a:lnTo>
                  <a:pt x="4262" y="1365"/>
                </a:lnTo>
                <a:lnTo>
                  <a:pt x="4246" y="1365"/>
                </a:lnTo>
                <a:lnTo>
                  <a:pt x="4241" y="1365"/>
                </a:lnTo>
                <a:lnTo>
                  <a:pt x="4238" y="1363"/>
                </a:lnTo>
                <a:lnTo>
                  <a:pt x="4232" y="1362"/>
                </a:lnTo>
                <a:lnTo>
                  <a:pt x="4227" y="1359"/>
                </a:lnTo>
                <a:lnTo>
                  <a:pt x="4227" y="1357"/>
                </a:lnTo>
                <a:lnTo>
                  <a:pt x="4226" y="1356"/>
                </a:lnTo>
                <a:lnTo>
                  <a:pt x="4226" y="1354"/>
                </a:lnTo>
                <a:lnTo>
                  <a:pt x="4226" y="1351"/>
                </a:lnTo>
                <a:lnTo>
                  <a:pt x="4226" y="1348"/>
                </a:lnTo>
                <a:lnTo>
                  <a:pt x="4228" y="1345"/>
                </a:lnTo>
                <a:lnTo>
                  <a:pt x="4229" y="1344"/>
                </a:lnTo>
                <a:lnTo>
                  <a:pt x="4232" y="1343"/>
                </a:lnTo>
                <a:lnTo>
                  <a:pt x="4237" y="1340"/>
                </a:lnTo>
                <a:lnTo>
                  <a:pt x="4244" y="1338"/>
                </a:lnTo>
                <a:lnTo>
                  <a:pt x="4247" y="1337"/>
                </a:lnTo>
                <a:lnTo>
                  <a:pt x="4256" y="1333"/>
                </a:lnTo>
                <a:lnTo>
                  <a:pt x="4263" y="1330"/>
                </a:lnTo>
                <a:lnTo>
                  <a:pt x="4266" y="1329"/>
                </a:lnTo>
                <a:lnTo>
                  <a:pt x="4267" y="1328"/>
                </a:lnTo>
                <a:lnTo>
                  <a:pt x="4267" y="1326"/>
                </a:lnTo>
                <a:lnTo>
                  <a:pt x="4268" y="1324"/>
                </a:lnTo>
                <a:lnTo>
                  <a:pt x="4268" y="1321"/>
                </a:lnTo>
                <a:lnTo>
                  <a:pt x="4268" y="1315"/>
                </a:lnTo>
                <a:lnTo>
                  <a:pt x="4268" y="1284"/>
                </a:lnTo>
                <a:lnTo>
                  <a:pt x="4268" y="1162"/>
                </a:lnTo>
                <a:lnTo>
                  <a:pt x="4268" y="1129"/>
                </a:lnTo>
                <a:lnTo>
                  <a:pt x="4268" y="1122"/>
                </a:lnTo>
                <a:lnTo>
                  <a:pt x="4268" y="1118"/>
                </a:lnTo>
                <a:lnTo>
                  <a:pt x="4267" y="1116"/>
                </a:lnTo>
                <a:lnTo>
                  <a:pt x="4266" y="1116"/>
                </a:lnTo>
                <a:lnTo>
                  <a:pt x="4263" y="1114"/>
                </a:lnTo>
                <a:lnTo>
                  <a:pt x="4259" y="1116"/>
                </a:lnTo>
                <a:lnTo>
                  <a:pt x="4237" y="1116"/>
                </a:lnTo>
                <a:lnTo>
                  <a:pt x="4233" y="1114"/>
                </a:lnTo>
                <a:lnTo>
                  <a:pt x="4230" y="1113"/>
                </a:lnTo>
                <a:lnTo>
                  <a:pt x="4228" y="1110"/>
                </a:lnTo>
                <a:lnTo>
                  <a:pt x="4227" y="1107"/>
                </a:lnTo>
                <a:lnTo>
                  <a:pt x="4227" y="1103"/>
                </a:lnTo>
                <a:lnTo>
                  <a:pt x="4227" y="1101"/>
                </a:lnTo>
                <a:lnTo>
                  <a:pt x="4232" y="1096"/>
                </a:lnTo>
                <a:lnTo>
                  <a:pt x="4233" y="1095"/>
                </a:lnTo>
                <a:lnTo>
                  <a:pt x="4234" y="1094"/>
                </a:lnTo>
                <a:lnTo>
                  <a:pt x="4237" y="1094"/>
                </a:lnTo>
                <a:lnTo>
                  <a:pt x="4241" y="1091"/>
                </a:lnTo>
                <a:lnTo>
                  <a:pt x="4243" y="1090"/>
                </a:lnTo>
                <a:lnTo>
                  <a:pt x="4246" y="1088"/>
                </a:lnTo>
                <a:lnTo>
                  <a:pt x="4247" y="1086"/>
                </a:lnTo>
                <a:lnTo>
                  <a:pt x="4250" y="1086"/>
                </a:lnTo>
                <a:lnTo>
                  <a:pt x="4252" y="1085"/>
                </a:lnTo>
                <a:lnTo>
                  <a:pt x="4255" y="1083"/>
                </a:lnTo>
                <a:lnTo>
                  <a:pt x="4257" y="1083"/>
                </a:lnTo>
                <a:lnTo>
                  <a:pt x="4259" y="1081"/>
                </a:lnTo>
                <a:lnTo>
                  <a:pt x="4261" y="1079"/>
                </a:lnTo>
                <a:lnTo>
                  <a:pt x="4263" y="1079"/>
                </a:lnTo>
                <a:lnTo>
                  <a:pt x="4266" y="1078"/>
                </a:lnTo>
                <a:lnTo>
                  <a:pt x="4267" y="1075"/>
                </a:lnTo>
                <a:lnTo>
                  <a:pt x="4269" y="1075"/>
                </a:lnTo>
                <a:lnTo>
                  <a:pt x="4272" y="1074"/>
                </a:lnTo>
                <a:lnTo>
                  <a:pt x="4274" y="1073"/>
                </a:lnTo>
                <a:lnTo>
                  <a:pt x="4275" y="1072"/>
                </a:lnTo>
                <a:lnTo>
                  <a:pt x="4278" y="1071"/>
                </a:lnTo>
                <a:lnTo>
                  <a:pt x="4280" y="1069"/>
                </a:lnTo>
                <a:lnTo>
                  <a:pt x="4282" y="1068"/>
                </a:lnTo>
                <a:lnTo>
                  <a:pt x="4285" y="1067"/>
                </a:lnTo>
                <a:lnTo>
                  <a:pt x="4286" y="1066"/>
                </a:lnTo>
                <a:lnTo>
                  <a:pt x="4288" y="1064"/>
                </a:lnTo>
                <a:lnTo>
                  <a:pt x="4290" y="1064"/>
                </a:lnTo>
                <a:lnTo>
                  <a:pt x="4292" y="1063"/>
                </a:lnTo>
                <a:lnTo>
                  <a:pt x="4295" y="1063"/>
                </a:lnTo>
                <a:lnTo>
                  <a:pt x="4296" y="1062"/>
                </a:lnTo>
                <a:lnTo>
                  <a:pt x="4297" y="1062"/>
                </a:lnTo>
                <a:close/>
                <a:moveTo>
                  <a:pt x="4615" y="1075"/>
                </a:moveTo>
                <a:lnTo>
                  <a:pt x="4685" y="1075"/>
                </a:lnTo>
                <a:lnTo>
                  <a:pt x="4684" y="1078"/>
                </a:lnTo>
                <a:lnTo>
                  <a:pt x="4684" y="1080"/>
                </a:lnTo>
                <a:lnTo>
                  <a:pt x="4683" y="1083"/>
                </a:lnTo>
                <a:lnTo>
                  <a:pt x="4683" y="1085"/>
                </a:lnTo>
                <a:lnTo>
                  <a:pt x="4681" y="1088"/>
                </a:lnTo>
                <a:lnTo>
                  <a:pt x="4681" y="1089"/>
                </a:lnTo>
                <a:lnTo>
                  <a:pt x="4680" y="1095"/>
                </a:lnTo>
                <a:lnTo>
                  <a:pt x="4679" y="1100"/>
                </a:lnTo>
                <a:lnTo>
                  <a:pt x="4675" y="1112"/>
                </a:lnTo>
                <a:lnTo>
                  <a:pt x="4615" y="1112"/>
                </a:lnTo>
                <a:lnTo>
                  <a:pt x="4615" y="1261"/>
                </a:lnTo>
                <a:lnTo>
                  <a:pt x="4615" y="1295"/>
                </a:lnTo>
                <a:lnTo>
                  <a:pt x="4615" y="1304"/>
                </a:lnTo>
                <a:lnTo>
                  <a:pt x="4615" y="1307"/>
                </a:lnTo>
                <a:lnTo>
                  <a:pt x="4616" y="1311"/>
                </a:lnTo>
                <a:lnTo>
                  <a:pt x="4616" y="1313"/>
                </a:lnTo>
                <a:lnTo>
                  <a:pt x="4617" y="1317"/>
                </a:lnTo>
                <a:lnTo>
                  <a:pt x="4618" y="1321"/>
                </a:lnTo>
                <a:lnTo>
                  <a:pt x="4621" y="1323"/>
                </a:lnTo>
                <a:lnTo>
                  <a:pt x="4623" y="1326"/>
                </a:lnTo>
                <a:lnTo>
                  <a:pt x="4624" y="1328"/>
                </a:lnTo>
                <a:lnTo>
                  <a:pt x="4627" y="1329"/>
                </a:lnTo>
                <a:lnTo>
                  <a:pt x="4637" y="1332"/>
                </a:lnTo>
                <a:lnTo>
                  <a:pt x="4641" y="1332"/>
                </a:lnTo>
                <a:lnTo>
                  <a:pt x="4655" y="1332"/>
                </a:lnTo>
                <a:lnTo>
                  <a:pt x="4660" y="1330"/>
                </a:lnTo>
                <a:lnTo>
                  <a:pt x="4678" y="1323"/>
                </a:lnTo>
                <a:lnTo>
                  <a:pt x="4683" y="1322"/>
                </a:lnTo>
                <a:lnTo>
                  <a:pt x="4687" y="1322"/>
                </a:lnTo>
                <a:lnTo>
                  <a:pt x="4692" y="1324"/>
                </a:lnTo>
                <a:lnTo>
                  <a:pt x="4696" y="1327"/>
                </a:lnTo>
                <a:lnTo>
                  <a:pt x="4696" y="1328"/>
                </a:lnTo>
                <a:lnTo>
                  <a:pt x="4697" y="1332"/>
                </a:lnTo>
                <a:lnTo>
                  <a:pt x="4697" y="1333"/>
                </a:lnTo>
                <a:lnTo>
                  <a:pt x="4698" y="1337"/>
                </a:lnTo>
                <a:lnTo>
                  <a:pt x="4697" y="1339"/>
                </a:lnTo>
                <a:lnTo>
                  <a:pt x="4697" y="1340"/>
                </a:lnTo>
                <a:lnTo>
                  <a:pt x="4696" y="1343"/>
                </a:lnTo>
                <a:lnTo>
                  <a:pt x="4695" y="1345"/>
                </a:lnTo>
                <a:lnTo>
                  <a:pt x="4692" y="1348"/>
                </a:lnTo>
                <a:lnTo>
                  <a:pt x="4687" y="1351"/>
                </a:lnTo>
                <a:lnTo>
                  <a:pt x="4681" y="1356"/>
                </a:lnTo>
                <a:lnTo>
                  <a:pt x="4673" y="1360"/>
                </a:lnTo>
                <a:lnTo>
                  <a:pt x="4657" y="1366"/>
                </a:lnTo>
                <a:lnTo>
                  <a:pt x="4654" y="1366"/>
                </a:lnTo>
                <a:lnTo>
                  <a:pt x="4652" y="1366"/>
                </a:lnTo>
                <a:lnTo>
                  <a:pt x="4649" y="1367"/>
                </a:lnTo>
                <a:lnTo>
                  <a:pt x="4644" y="1367"/>
                </a:lnTo>
                <a:lnTo>
                  <a:pt x="4639" y="1368"/>
                </a:lnTo>
                <a:lnTo>
                  <a:pt x="4633" y="1368"/>
                </a:lnTo>
                <a:lnTo>
                  <a:pt x="4626" y="1368"/>
                </a:lnTo>
                <a:lnTo>
                  <a:pt x="4621" y="1367"/>
                </a:lnTo>
                <a:lnTo>
                  <a:pt x="4618" y="1367"/>
                </a:lnTo>
                <a:lnTo>
                  <a:pt x="4616" y="1367"/>
                </a:lnTo>
                <a:lnTo>
                  <a:pt x="4614" y="1366"/>
                </a:lnTo>
                <a:lnTo>
                  <a:pt x="4610" y="1366"/>
                </a:lnTo>
                <a:lnTo>
                  <a:pt x="4608" y="1365"/>
                </a:lnTo>
                <a:lnTo>
                  <a:pt x="4604" y="1362"/>
                </a:lnTo>
                <a:lnTo>
                  <a:pt x="4600" y="1361"/>
                </a:lnTo>
                <a:lnTo>
                  <a:pt x="4598" y="1360"/>
                </a:lnTo>
                <a:lnTo>
                  <a:pt x="4597" y="1359"/>
                </a:lnTo>
                <a:lnTo>
                  <a:pt x="4594" y="1357"/>
                </a:lnTo>
                <a:lnTo>
                  <a:pt x="4594" y="1355"/>
                </a:lnTo>
                <a:lnTo>
                  <a:pt x="4589" y="1351"/>
                </a:lnTo>
                <a:lnTo>
                  <a:pt x="4586" y="1349"/>
                </a:lnTo>
                <a:lnTo>
                  <a:pt x="4583" y="1346"/>
                </a:lnTo>
                <a:lnTo>
                  <a:pt x="4582" y="1344"/>
                </a:lnTo>
                <a:lnTo>
                  <a:pt x="4581" y="1343"/>
                </a:lnTo>
                <a:lnTo>
                  <a:pt x="4581" y="1340"/>
                </a:lnTo>
                <a:lnTo>
                  <a:pt x="4579" y="1335"/>
                </a:lnTo>
                <a:lnTo>
                  <a:pt x="4579" y="1334"/>
                </a:lnTo>
                <a:lnTo>
                  <a:pt x="4577" y="1330"/>
                </a:lnTo>
                <a:lnTo>
                  <a:pt x="4576" y="1328"/>
                </a:lnTo>
                <a:lnTo>
                  <a:pt x="4576" y="1326"/>
                </a:lnTo>
                <a:lnTo>
                  <a:pt x="4575" y="1323"/>
                </a:lnTo>
                <a:lnTo>
                  <a:pt x="4575" y="1319"/>
                </a:lnTo>
                <a:lnTo>
                  <a:pt x="4574" y="1269"/>
                </a:lnTo>
                <a:lnTo>
                  <a:pt x="4574" y="1112"/>
                </a:lnTo>
                <a:lnTo>
                  <a:pt x="4563" y="1112"/>
                </a:lnTo>
                <a:lnTo>
                  <a:pt x="4552" y="1112"/>
                </a:lnTo>
                <a:lnTo>
                  <a:pt x="4546" y="1111"/>
                </a:lnTo>
                <a:lnTo>
                  <a:pt x="4542" y="1110"/>
                </a:lnTo>
                <a:lnTo>
                  <a:pt x="4539" y="1107"/>
                </a:lnTo>
                <a:lnTo>
                  <a:pt x="4537" y="1106"/>
                </a:lnTo>
                <a:lnTo>
                  <a:pt x="4536" y="1105"/>
                </a:lnTo>
                <a:lnTo>
                  <a:pt x="4536" y="1103"/>
                </a:lnTo>
                <a:lnTo>
                  <a:pt x="4535" y="1101"/>
                </a:lnTo>
                <a:lnTo>
                  <a:pt x="4535" y="1096"/>
                </a:lnTo>
                <a:lnTo>
                  <a:pt x="4536" y="1091"/>
                </a:lnTo>
                <a:lnTo>
                  <a:pt x="4537" y="1088"/>
                </a:lnTo>
                <a:lnTo>
                  <a:pt x="4545" y="1083"/>
                </a:lnTo>
                <a:lnTo>
                  <a:pt x="4548" y="1083"/>
                </a:lnTo>
                <a:lnTo>
                  <a:pt x="4552" y="1080"/>
                </a:lnTo>
                <a:lnTo>
                  <a:pt x="4556" y="1079"/>
                </a:lnTo>
                <a:lnTo>
                  <a:pt x="4563" y="1077"/>
                </a:lnTo>
                <a:lnTo>
                  <a:pt x="4565" y="1075"/>
                </a:lnTo>
                <a:lnTo>
                  <a:pt x="4569" y="1074"/>
                </a:lnTo>
                <a:lnTo>
                  <a:pt x="4571" y="1073"/>
                </a:lnTo>
                <a:lnTo>
                  <a:pt x="4575" y="1069"/>
                </a:lnTo>
                <a:lnTo>
                  <a:pt x="4576" y="1068"/>
                </a:lnTo>
                <a:lnTo>
                  <a:pt x="4577" y="1066"/>
                </a:lnTo>
                <a:lnTo>
                  <a:pt x="4579" y="1063"/>
                </a:lnTo>
                <a:lnTo>
                  <a:pt x="4580" y="1060"/>
                </a:lnTo>
                <a:lnTo>
                  <a:pt x="4580" y="1058"/>
                </a:lnTo>
                <a:lnTo>
                  <a:pt x="4581" y="1055"/>
                </a:lnTo>
                <a:lnTo>
                  <a:pt x="4581" y="1051"/>
                </a:lnTo>
                <a:lnTo>
                  <a:pt x="4582" y="1045"/>
                </a:lnTo>
                <a:lnTo>
                  <a:pt x="4583" y="1030"/>
                </a:lnTo>
                <a:lnTo>
                  <a:pt x="4583" y="1027"/>
                </a:lnTo>
                <a:lnTo>
                  <a:pt x="4585" y="1024"/>
                </a:lnTo>
                <a:lnTo>
                  <a:pt x="4585" y="1020"/>
                </a:lnTo>
                <a:lnTo>
                  <a:pt x="4586" y="1019"/>
                </a:lnTo>
                <a:lnTo>
                  <a:pt x="4586" y="1017"/>
                </a:lnTo>
                <a:lnTo>
                  <a:pt x="4587" y="1016"/>
                </a:lnTo>
                <a:lnTo>
                  <a:pt x="4588" y="1013"/>
                </a:lnTo>
                <a:lnTo>
                  <a:pt x="4591" y="1011"/>
                </a:lnTo>
                <a:lnTo>
                  <a:pt x="4592" y="1008"/>
                </a:lnTo>
                <a:lnTo>
                  <a:pt x="4594" y="1007"/>
                </a:lnTo>
                <a:lnTo>
                  <a:pt x="4595" y="1007"/>
                </a:lnTo>
                <a:lnTo>
                  <a:pt x="4603" y="1006"/>
                </a:lnTo>
                <a:lnTo>
                  <a:pt x="4606" y="1007"/>
                </a:lnTo>
                <a:lnTo>
                  <a:pt x="4608" y="1008"/>
                </a:lnTo>
                <a:lnTo>
                  <a:pt x="4610" y="1011"/>
                </a:lnTo>
                <a:lnTo>
                  <a:pt x="4611" y="1012"/>
                </a:lnTo>
                <a:lnTo>
                  <a:pt x="4612" y="1014"/>
                </a:lnTo>
                <a:lnTo>
                  <a:pt x="4612" y="1016"/>
                </a:lnTo>
                <a:lnTo>
                  <a:pt x="4614" y="1019"/>
                </a:lnTo>
                <a:lnTo>
                  <a:pt x="4615" y="1024"/>
                </a:lnTo>
                <a:lnTo>
                  <a:pt x="4615" y="1034"/>
                </a:lnTo>
                <a:lnTo>
                  <a:pt x="4615" y="1075"/>
                </a:lnTo>
                <a:close/>
                <a:moveTo>
                  <a:pt x="3844" y="1075"/>
                </a:moveTo>
                <a:lnTo>
                  <a:pt x="3914" y="1075"/>
                </a:lnTo>
                <a:lnTo>
                  <a:pt x="3904" y="1112"/>
                </a:lnTo>
                <a:lnTo>
                  <a:pt x="3844" y="1112"/>
                </a:lnTo>
                <a:lnTo>
                  <a:pt x="3844" y="1268"/>
                </a:lnTo>
                <a:lnTo>
                  <a:pt x="3844" y="1293"/>
                </a:lnTo>
                <a:lnTo>
                  <a:pt x="3844" y="1300"/>
                </a:lnTo>
                <a:lnTo>
                  <a:pt x="3844" y="1306"/>
                </a:lnTo>
                <a:lnTo>
                  <a:pt x="3845" y="1313"/>
                </a:lnTo>
                <a:lnTo>
                  <a:pt x="3846" y="1317"/>
                </a:lnTo>
                <a:lnTo>
                  <a:pt x="3847" y="1321"/>
                </a:lnTo>
                <a:lnTo>
                  <a:pt x="3850" y="1322"/>
                </a:lnTo>
                <a:lnTo>
                  <a:pt x="3852" y="1324"/>
                </a:lnTo>
                <a:lnTo>
                  <a:pt x="3853" y="1327"/>
                </a:lnTo>
                <a:lnTo>
                  <a:pt x="3857" y="1329"/>
                </a:lnTo>
                <a:lnTo>
                  <a:pt x="3862" y="1330"/>
                </a:lnTo>
                <a:lnTo>
                  <a:pt x="3867" y="1332"/>
                </a:lnTo>
                <a:lnTo>
                  <a:pt x="3873" y="1332"/>
                </a:lnTo>
                <a:lnTo>
                  <a:pt x="3880" y="1332"/>
                </a:lnTo>
                <a:lnTo>
                  <a:pt x="3884" y="1332"/>
                </a:lnTo>
                <a:lnTo>
                  <a:pt x="3885" y="1330"/>
                </a:lnTo>
                <a:lnTo>
                  <a:pt x="3887" y="1330"/>
                </a:lnTo>
                <a:lnTo>
                  <a:pt x="3899" y="1326"/>
                </a:lnTo>
                <a:lnTo>
                  <a:pt x="3910" y="1322"/>
                </a:lnTo>
                <a:lnTo>
                  <a:pt x="3914" y="1322"/>
                </a:lnTo>
                <a:lnTo>
                  <a:pt x="3916" y="1322"/>
                </a:lnTo>
                <a:lnTo>
                  <a:pt x="3921" y="1323"/>
                </a:lnTo>
                <a:lnTo>
                  <a:pt x="3925" y="1327"/>
                </a:lnTo>
                <a:lnTo>
                  <a:pt x="3926" y="1329"/>
                </a:lnTo>
                <a:lnTo>
                  <a:pt x="3926" y="1330"/>
                </a:lnTo>
                <a:lnTo>
                  <a:pt x="3927" y="1333"/>
                </a:lnTo>
                <a:lnTo>
                  <a:pt x="3927" y="1334"/>
                </a:lnTo>
                <a:lnTo>
                  <a:pt x="3927" y="1337"/>
                </a:lnTo>
                <a:lnTo>
                  <a:pt x="3926" y="1340"/>
                </a:lnTo>
                <a:lnTo>
                  <a:pt x="3925" y="1343"/>
                </a:lnTo>
                <a:lnTo>
                  <a:pt x="3922" y="1346"/>
                </a:lnTo>
                <a:lnTo>
                  <a:pt x="3919" y="1350"/>
                </a:lnTo>
                <a:lnTo>
                  <a:pt x="3916" y="1351"/>
                </a:lnTo>
                <a:lnTo>
                  <a:pt x="3915" y="1352"/>
                </a:lnTo>
                <a:lnTo>
                  <a:pt x="3913" y="1354"/>
                </a:lnTo>
                <a:lnTo>
                  <a:pt x="3911" y="1355"/>
                </a:lnTo>
                <a:lnTo>
                  <a:pt x="3909" y="1356"/>
                </a:lnTo>
                <a:lnTo>
                  <a:pt x="3907" y="1357"/>
                </a:lnTo>
                <a:lnTo>
                  <a:pt x="3904" y="1359"/>
                </a:lnTo>
                <a:lnTo>
                  <a:pt x="3902" y="1360"/>
                </a:lnTo>
                <a:lnTo>
                  <a:pt x="3899" y="1361"/>
                </a:lnTo>
                <a:lnTo>
                  <a:pt x="3897" y="1362"/>
                </a:lnTo>
                <a:lnTo>
                  <a:pt x="3891" y="1363"/>
                </a:lnTo>
                <a:lnTo>
                  <a:pt x="3890" y="1365"/>
                </a:lnTo>
                <a:lnTo>
                  <a:pt x="3887" y="1365"/>
                </a:lnTo>
                <a:lnTo>
                  <a:pt x="3885" y="1366"/>
                </a:lnTo>
                <a:lnTo>
                  <a:pt x="3882" y="1366"/>
                </a:lnTo>
                <a:lnTo>
                  <a:pt x="3871" y="1367"/>
                </a:lnTo>
                <a:lnTo>
                  <a:pt x="3857" y="1368"/>
                </a:lnTo>
                <a:lnTo>
                  <a:pt x="3851" y="1368"/>
                </a:lnTo>
                <a:lnTo>
                  <a:pt x="3836" y="1365"/>
                </a:lnTo>
                <a:lnTo>
                  <a:pt x="3833" y="1362"/>
                </a:lnTo>
                <a:lnTo>
                  <a:pt x="3828" y="1360"/>
                </a:lnTo>
                <a:lnTo>
                  <a:pt x="3827" y="1359"/>
                </a:lnTo>
                <a:lnTo>
                  <a:pt x="3826" y="1357"/>
                </a:lnTo>
                <a:lnTo>
                  <a:pt x="3824" y="1356"/>
                </a:lnTo>
                <a:lnTo>
                  <a:pt x="3820" y="1351"/>
                </a:lnTo>
                <a:lnTo>
                  <a:pt x="3813" y="1348"/>
                </a:lnTo>
                <a:lnTo>
                  <a:pt x="3812" y="1345"/>
                </a:lnTo>
                <a:lnTo>
                  <a:pt x="3811" y="1343"/>
                </a:lnTo>
                <a:lnTo>
                  <a:pt x="3810" y="1339"/>
                </a:lnTo>
                <a:lnTo>
                  <a:pt x="3809" y="1337"/>
                </a:lnTo>
                <a:lnTo>
                  <a:pt x="3806" y="1332"/>
                </a:lnTo>
                <a:lnTo>
                  <a:pt x="3806" y="1330"/>
                </a:lnTo>
                <a:lnTo>
                  <a:pt x="3805" y="1328"/>
                </a:lnTo>
                <a:lnTo>
                  <a:pt x="3805" y="1326"/>
                </a:lnTo>
                <a:lnTo>
                  <a:pt x="3804" y="1322"/>
                </a:lnTo>
                <a:lnTo>
                  <a:pt x="3803" y="1306"/>
                </a:lnTo>
                <a:lnTo>
                  <a:pt x="3803" y="1276"/>
                </a:lnTo>
                <a:lnTo>
                  <a:pt x="3803" y="1112"/>
                </a:lnTo>
                <a:lnTo>
                  <a:pt x="3786" y="1112"/>
                </a:lnTo>
                <a:lnTo>
                  <a:pt x="3777" y="1112"/>
                </a:lnTo>
                <a:lnTo>
                  <a:pt x="3774" y="1111"/>
                </a:lnTo>
                <a:lnTo>
                  <a:pt x="3771" y="1110"/>
                </a:lnTo>
                <a:lnTo>
                  <a:pt x="3769" y="1108"/>
                </a:lnTo>
                <a:lnTo>
                  <a:pt x="3768" y="1107"/>
                </a:lnTo>
                <a:lnTo>
                  <a:pt x="3768" y="1106"/>
                </a:lnTo>
                <a:lnTo>
                  <a:pt x="3765" y="1105"/>
                </a:lnTo>
                <a:lnTo>
                  <a:pt x="3765" y="1101"/>
                </a:lnTo>
                <a:lnTo>
                  <a:pt x="3764" y="1099"/>
                </a:lnTo>
                <a:lnTo>
                  <a:pt x="3764" y="1096"/>
                </a:lnTo>
                <a:lnTo>
                  <a:pt x="3765" y="1091"/>
                </a:lnTo>
                <a:lnTo>
                  <a:pt x="3766" y="1090"/>
                </a:lnTo>
                <a:lnTo>
                  <a:pt x="3768" y="1088"/>
                </a:lnTo>
                <a:lnTo>
                  <a:pt x="3770" y="1085"/>
                </a:lnTo>
                <a:lnTo>
                  <a:pt x="3771" y="1084"/>
                </a:lnTo>
                <a:lnTo>
                  <a:pt x="3775" y="1083"/>
                </a:lnTo>
                <a:lnTo>
                  <a:pt x="3778" y="1081"/>
                </a:lnTo>
                <a:lnTo>
                  <a:pt x="3782" y="1080"/>
                </a:lnTo>
                <a:lnTo>
                  <a:pt x="3784" y="1079"/>
                </a:lnTo>
                <a:lnTo>
                  <a:pt x="3787" y="1078"/>
                </a:lnTo>
                <a:lnTo>
                  <a:pt x="3793" y="1077"/>
                </a:lnTo>
                <a:lnTo>
                  <a:pt x="3800" y="1073"/>
                </a:lnTo>
                <a:lnTo>
                  <a:pt x="3801" y="1073"/>
                </a:lnTo>
                <a:lnTo>
                  <a:pt x="3805" y="1069"/>
                </a:lnTo>
                <a:lnTo>
                  <a:pt x="3806" y="1067"/>
                </a:lnTo>
                <a:lnTo>
                  <a:pt x="3807" y="1063"/>
                </a:lnTo>
                <a:lnTo>
                  <a:pt x="3810" y="1058"/>
                </a:lnTo>
                <a:lnTo>
                  <a:pt x="3810" y="1056"/>
                </a:lnTo>
                <a:lnTo>
                  <a:pt x="3811" y="1052"/>
                </a:lnTo>
                <a:lnTo>
                  <a:pt x="3811" y="1046"/>
                </a:lnTo>
                <a:lnTo>
                  <a:pt x="3811" y="1039"/>
                </a:lnTo>
                <a:lnTo>
                  <a:pt x="3812" y="1031"/>
                </a:lnTo>
                <a:lnTo>
                  <a:pt x="3812" y="1028"/>
                </a:lnTo>
                <a:lnTo>
                  <a:pt x="3813" y="1024"/>
                </a:lnTo>
                <a:lnTo>
                  <a:pt x="3815" y="1019"/>
                </a:lnTo>
                <a:lnTo>
                  <a:pt x="3816" y="1016"/>
                </a:lnTo>
                <a:lnTo>
                  <a:pt x="3817" y="1013"/>
                </a:lnTo>
                <a:lnTo>
                  <a:pt x="3818" y="1012"/>
                </a:lnTo>
                <a:lnTo>
                  <a:pt x="3823" y="1007"/>
                </a:lnTo>
                <a:lnTo>
                  <a:pt x="3826" y="1006"/>
                </a:lnTo>
                <a:lnTo>
                  <a:pt x="3828" y="1006"/>
                </a:lnTo>
                <a:lnTo>
                  <a:pt x="3832" y="1006"/>
                </a:lnTo>
                <a:lnTo>
                  <a:pt x="3835" y="1007"/>
                </a:lnTo>
                <a:lnTo>
                  <a:pt x="3836" y="1007"/>
                </a:lnTo>
                <a:lnTo>
                  <a:pt x="3839" y="1011"/>
                </a:lnTo>
                <a:lnTo>
                  <a:pt x="3841" y="1012"/>
                </a:lnTo>
                <a:lnTo>
                  <a:pt x="3842" y="1014"/>
                </a:lnTo>
                <a:lnTo>
                  <a:pt x="3842" y="1017"/>
                </a:lnTo>
                <a:lnTo>
                  <a:pt x="3844" y="1020"/>
                </a:lnTo>
                <a:lnTo>
                  <a:pt x="3844" y="1027"/>
                </a:lnTo>
                <a:lnTo>
                  <a:pt x="3844" y="1034"/>
                </a:lnTo>
                <a:lnTo>
                  <a:pt x="3844" y="1075"/>
                </a:lnTo>
                <a:close/>
                <a:moveTo>
                  <a:pt x="1020" y="1075"/>
                </a:moveTo>
                <a:lnTo>
                  <a:pt x="1090" y="1075"/>
                </a:lnTo>
                <a:lnTo>
                  <a:pt x="1081" y="1112"/>
                </a:lnTo>
                <a:lnTo>
                  <a:pt x="1020" y="1112"/>
                </a:lnTo>
                <a:lnTo>
                  <a:pt x="1020" y="1249"/>
                </a:lnTo>
                <a:lnTo>
                  <a:pt x="1020" y="1290"/>
                </a:lnTo>
                <a:lnTo>
                  <a:pt x="1020" y="1310"/>
                </a:lnTo>
                <a:lnTo>
                  <a:pt x="1024" y="1321"/>
                </a:lnTo>
                <a:lnTo>
                  <a:pt x="1025" y="1322"/>
                </a:lnTo>
                <a:lnTo>
                  <a:pt x="1026" y="1324"/>
                </a:lnTo>
                <a:lnTo>
                  <a:pt x="1027" y="1326"/>
                </a:lnTo>
                <a:lnTo>
                  <a:pt x="1029" y="1326"/>
                </a:lnTo>
                <a:lnTo>
                  <a:pt x="1030" y="1327"/>
                </a:lnTo>
                <a:lnTo>
                  <a:pt x="1035" y="1329"/>
                </a:lnTo>
                <a:lnTo>
                  <a:pt x="1037" y="1330"/>
                </a:lnTo>
                <a:lnTo>
                  <a:pt x="1038" y="1330"/>
                </a:lnTo>
                <a:lnTo>
                  <a:pt x="1041" y="1332"/>
                </a:lnTo>
                <a:lnTo>
                  <a:pt x="1047" y="1332"/>
                </a:lnTo>
                <a:lnTo>
                  <a:pt x="1049" y="1333"/>
                </a:lnTo>
                <a:lnTo>
                  <a:pt x="1053" y="1333"/>
                </a:lnTo>
                <a:lnTo>
                  <a:pt x="1060" y="1332"/>
                </a:lnTo>
                <a:lnTo>
                  <a:pt x="1065" y="1330"/>
                </a:lnTo>
                <a:lnTo>
                  <a:pt x="1066" y="1329"/>
                </a:lnTo>
                <a:lnTo>
                  <a:pt x="1068" y="1329"/>
                </a:lnTo>
                <a:lnTo>
                  <a:pt x="1070" y="1328"/>
                </a:lnTo>
                <a:lnTo>
                  <a:pt x="1073" y="1327"/>
                </a:lnTo>
                <a:lnTo>
                  <a:pt x="1078" y="1326"/>
                </a:lnTo>
                <a:lnTo>
                  <a:pt x="1081" y="1324"/>
                </a:lnTo>
                <a:lnTo>
                  <a:pt x="1083" y="1323"/>
                </a:lnTo>
                <a:lnTo>
                  <a:pt x="1084" y="1323"/>
                </a:lnTo>
                <a:lnTo>
                  <a:pt x="1089" y="1322"/>
                </a:lnTo>
                <a:lnTo>
                  <a:pt x="1091" y="1322"/>
                </a:lnTo>
                <a:lnTo>
                  <a:pt x="1099" y="1324"/>
                </a:lnTo>
                <a:lnTo>
                  <a:pt x="1100" y="1327"/>
                </a:lnTo>
                <a:lnTo>
                  <a:pt x="1102" y="1333"/>
                </a:lnTo>
                <a:lnTo>
                  <a:pt x="1104" y="1335"/>
                </a:lnTo>
                <a:lnTo>
                  <a:pt x="1104" y="1338"/>
                </a:lnTo>
                <a:lnTo>
                  <a:pt x="1101" y="1341"/>
                </a:lnTo>
                <a:lnTo>
                  <a:pt x="1100" y="1344"/>
                </a:lnTo>
                <a:lnTo>
                  <a:pt x="1099" y="1345"/>
                </a:lnTo>
                <a:lnTo>
                  <a:pt x="1098" y="1348"/>
                </a:lnTo>
                <a:lnTo>
                  <a:pt x="1095" y="1350"/>
                </a:lnTo>
                <a:lnTo>
                  <a:pt x="1093" y="1352"/>
                </a:lnTo>
                <a:lnTo>
                  <a:pt x="1090" y="1354"/>
                </a:lnTo>
                <a:lnTo>
                  <a:pt x="1088" y="1355"/>
                </a:lnTo>
                <a:lnTo>
                  <a:pt x="1084" y="1356"/>
                </a:lnTo>
                <a:lnTo>
                  <a:pt x="1079" y="1360"/>
                </a:lnTo>
                <a:lnTo>
                  <a:pt x="1077" y="1361"/>
                </a:lnTo>
                <a:lnTo>
                  <a:pt x="1073" y="1362"/>
                </a:lnTo>
                <a:lnTo>
                  <a:pt x="1056" y="1367"/>
                </a:lnTo>
                <a:lnTo>
                  <a:pt x="1054" y="1367"/>
                </a:lnTo>
                <a:lnTo>
                  <a:pt x="1050" y="1367"/>
                </a:lnTo>
                <a:lnTo>
                  <a:pt x="1044" y="1368"/>
                </a:lnTo>
                <a:lnTo>
                  <a:pt x="1041" y="1368"/>
                </a:lnTo>
                <a:lnTo>
                  <a:pt x="1037" y="1370"/>
                </a:lnTo>
                <a:lnTo>
                  <a:pt x="1033" y="1368"/>
                </a:lnTo>
                <a:lnTo>
                  <a:pt x="1030" y="1368"/>
                </a:lnTo>
                <a:lnTo>
                  <a:pt x="1026" y="1368"/>
                </a:lnTo>
                <a:lnTo>
                  <a:pt x="1021" y="1367"/>
                </a:lnTo>
                <a:lnTo>
                  <a:pt x="1018" y="1366"/>
                </a:lnTo>
                <a:lnTo>
                  <a:pt x="1014" y="1365"/>
                </a:lnTo>
                <a:lnTo>
                  <a:pt x="1012" y="1363"/>
                </a:lnTo>
                <a:lnTo>
                  <a:pt x="1009" y="1362"/>
                </a:lnTo>
                <a:lnTo>
                  <a:pt x="1007" y="1361"/>
                </a:lnTo>
                <a:lnTo>
                  <a:pt x="1003" y="1360"/>
                </a:lnTo>
                <a:lnTo>
                  <a:pt x="1002" y="1359"/>
                </a:lnTo>
                <a:lnTo>
                  <a:pt x="1001" y="1356"/>
                </a:lnTo>
                <a:lnTo>
                  <a:pt x="997" y="1354"/>
                </a:lnTo>
                <a:lnTo>
                  <a:pt x="996" y="1352"/>
                </a:lnTo>
                <a:lnTo>
                  <a:pt x="992" y="1350"/>
                </a:lnTo>
                <a:lnTo>
                  <a:pt x="990" y="1346"/>
                </a:lnTo>
                <a:lnTo>
                  <a:pt x="989" y="1345"/>
                </a:lnTo>
                <a:lnTo>
                  <a:pt x="988" y="1343"/>
                </a:lnTo>
                <a:lnTo>
                  <a:pt x="986" y="1340"/>
                </a:lnTo>
                <a:lnTo>
                  <a:pt x="984" y="1335"/>
                </a:lnTo>
                <a:lnTo>
                  <a:pt x="983" y="1332"/>
                </a:lnTo>
                <a:lnTo>
                  <a:pt x="983" y="1330"/>
                </a:lnTo>
                <a:lnTo>
                  <a:pt x="981" y="1328"/>
                </a:lnTo>
                <a:lnTo>
                  <a:pt x="981" y="1326"/>
                </a:lnTo>
                <a:lnTo>
                  <a:pt x="980" y="1322"/>
                </a:lnTo>
                <a:lnTo>
                  <a:pt x="979" y="1306"/>
                </a:lnTo>
                <a:lnTo>
                  <a:pt x="979" y="1274"/>
                </a:lnTo>
                <a:lnTo>
                  <a:pt x="979" y="1112"/>
                </a:lnTo>
                <a:lnTo>
                  <a:pt x="968" y="1112"/>
                </a:lnTo>
                <a:lnTo>
                  <a:pt x="962" y="1112"/>
                </a:lnTo>
                <a:lnTo>
                  <a:pt x="956" y="1112"/>
                </a:lnTo>
                <a:lnTo>
                  <a:pt x="950" y="1111"/>
                </a:lnTo>
                <a:lnTo>
                  <a:pt x="946" y="1110"/>
                </a:lnTo>
                <a:lnTo>
                  <a:pt x="944" y="1108"/>
                </a:lnTo>
                <a:lnTo>
                  <a:pt x="943" y="1106"/>
                </a:lnTo>
                <a:lnTo>
                  <a:pt x="942" y="1105"/>
                </a:lnTo>
                <a:lnTo>
                  <a:pt x="942" y="1102"/>
                </a:lnTo>
                <a:lnTo>
                  <a:pt x="940" y="1101"/>
                </a:lnTo>
                <a:lnTo>
                  <a:pt x="940" y="1099"/>
                </a:lnTo>
                <a:lnTo>
                  <a:pt x="940" y="1097"/>
                </a:lnTo>
                <a:lnTo>
                  <a:pt x="942" y="1094"/>
                </a:lnTo>
                <a:lnTo>
                  <a:pt x="943" y="1090"/>
                </a:lnTo>
                <a:lnTo>
                  <a:pt x="944" y="1088"/>
                </a:lnTo>
                <a:lnTo>
                  <a:pt x="946" y="1086"/>
                </a:lnTo>
                <a:lnTo>
                  <a:pt x="951" y="1084"/>
                </a:lnTo>
                <a:lnTo>
                  <a:pt x="954" y="1083"/>
                </a:lnTo>
                <a:lnTo>
                  <a:pt x="956" y="1081"/>
                </a:lnTo>
                <a:lnTo>
                  <a:pt x="963" y="1079"/>
                </a:lnTo>
                <a:lnTo>
                  <a:pt x="966" y="1078"/>
                </a:lnTo>
                <a:lnTo>
                  <a:pt x="971" y="1075"/>
                </a:lnTo>
                <a:lnTo>
                  <a:pt x="974" y="1074"/>
                </a:lnTo>
                <a:lnTo>
                  <a:pt x="977" y="1073"/>
                </a:lnTo>
                <a:lnTo>
                  <a:pt x="978" y="1072"/>
                </a:lnTo>
                <a:lnTo>
                  <a:pt x="980" y="1071"/>
                </a:lnTo>
                <a:lnTo>
                  <a:pt x="983" y="1068"/>
                </a:lnTo>
                <a:lnTo>
                  <a:pt x="983" y="1067"/>
                </a:lnTo>
                <a:lnTo>
                  <a:pt x="984" y="1063"/>
                </a:lnTo>
                <a:lnTo>
                  <a:pt x="986" y="1056"/>
                </a:lnTo>
                <a:lnTo>
                  <a:pt x="988" y="1049"/>
                </a:lnTo>
                <a:lnTo>
                  <a:pt x="989" y="1030"/>
                </a:lnTo>
                <a:lnTo>
                  <a:pt x="990" y="1022"/>
                </a:lnTo>
                <a:lnTo>
                  <a:pt x="992" y="1014"/>
                </a:lnTo>
                <a:lnTo>
                  <a:pt x="995" y="1012"/>
                </a:lnTo>
                <a:lnTo>
                  <a:pt x="997" y="1009"/>
                </a:lnTo>
                <a:lnTo>
                  <a:pt x="1000" y="1007"/>
                </a:lnTo>
                <a:lnTo>
                  <a:pt x="1002" y="1006"/>
                </a:lnTo>
                <a:lnTo>
                  <a:pt x="1007" y="1006"/>
                </a:lnTo>
                <a:lnTo>
                  <a:pt x="1010" y="1007"/>
                </a:lnTo>
                <a:lnTo>
                  <a:pt x="1014" y="1008"/>
                </a:lnTo>
                <a:lnTo>
                  <a:pt x="1017" y="1011"/>
                </a:lnTo>
                <a:lnTo>
                  <a:pt x="1018" y="1013"/>
                </a:lnTo>
                <a:lnTo>
                  <a:pt x="1019" y="1014"/>
                </a:lnTo>
                <a:lnTo>
                  <a:pt x="1019" y="1017"/>
                </a:lnTo>
                <a:lnTo>
                  <a:pt x="1020" y="1023"/>
                </a:lnTo>
                <a:lnTo>
                  <a:pt x="1020" y="1035"/>
                </a:lnTo>
                <a:lnTo>
                  <a:pt x="1020" y="1075"/>
                </a:lnTo>
                <a:close/>
                <a:moveTo>
                  <a:pt x="359" y="1074"/>
                </a:moveTo>
                <a:lnTo>
                  <a:pt x="429" y="1074"/>
                </a:lnTo>
                <a:lnTo>
                  <a:pt x="428" y="1077"/>
                </a:lnTo>
                <a:lnTo>
                  <a:pt x="428" y="1079"/>
                </a:lnTo>
                <a:lnTo>
                  <a:pt x="427" y="1084"/>
                </a:lnTo>
                <a:lnTo>
                  <a:pt x="423" y="1099"/>
                </a:lnTo>
                <a:lnTo>
                  <a:pt x="419" y="1112"/>
                </a:lnTo>
                <a:lnTo>
                  <a:pt x="359" y="1112"/>
                </a:lnTo>
                <a:lnTo>
                  <a:pt x="359" y="1268"/>
                </a:lnTo>
                <a:lnTo>
                  <a:pt x="359" y="1296"/>
                </a:lnTo>
                <a:lnTo>
                  <a:pt x="359" y="1311"/>
                </a:lnTo>
                <a:lnTo>
                  <a:pt x="363" y="1319"/>
                </a:lnTo>
                <a:lnTo>
                  <a:pt x="364" y="1322"/>
                </a:lnTo>
                <a:lnTo>
                  <a:pt x="365" y="1323"/>
                </a:lnTo>
                <a:lnTo>
                  <a:pt x="369" y="1327"/>
                </a:lnTo>
                <a:lnTo>
                  <a:pt x="373" y="1329"/>
                </a:lnTo>
                <a:lnTo>
                  <a:pt x="377" y="1330"/>
                </a:lnTo>
                <a:lnTo>
                  <a:pt x="381" y="1332"/>
                </a:lnTo>
                <a:lnTo>
                  <a:pt x="388" y="1332"/>
                </a:lnTo>
                <a:lnTo>
                  <a:pt x="395" y="1330"/>
                </a:lnTo>
                <a:lnTo>
                  <a:pt x="399" y="1330"/>
                </a:lnTo>
                <a:lnTo>
                  <a:pt x="419" y="1323"/>
                </a:lnTo>
                <a:lnTo>
                  <a:pt x="423" y="1322"/>
                </a:lnTo>
                <a:lnTo>
                  <a:pt x="427" y="1322"/>
                </a:lnTo>
                <a:lnTo>
                  <a:pt x="429" y="1322"/>
                </a:lnTo>
                <a:lnTo>
                  <a:pt x="432" y="1322"/>
                </a:lnTo>
                <a:lnTo>
                  <a:pt x="436" y="1323"/>
                </a:lnTo>
                <a:lnTo>
                  <a:pt x="439" y="1327"/>
                </a:lnTo>
                <a:lnTo>
                  <a:pt x="440" y="1328"/>
                </a:lnTo>
                <a:lnTo>
                  <a:pt x="441" y="1332"/>
                </a:lnTo>
                <a:lnTo>
                  <a:pt x="442" y="1333"/>
                </a:lnTo>
                <a:lnTo>
                  <a:pt x="442" y="1335"/>
                </a:lnTo>
                <a:lnTo>
                  <a:pt x="441" y="1339"/>
                </a:lnTo>
                <a:lnTo>
                  <a:pt x="440" y="1343"/>
                </a:lnTo>
                <a:lnTo>
                  <a:pt x="433" y="1351"/>
                </a:lnTo>
                <a:lnTo>
                  <a:pt x="430" y="1352"/>
                </a:lnTo>
                <a:lnTo>
                  <a:pt x="429" y="1354"/>
                </a:lnTo>
                <a:lnTo>
                  <a:pt x="427" y="1355"/>
                </a:lnTo>
                <a:lnTo>
                  <a:pt x="424" y="1355"/>
                </a:lnTo>
                <a:lnTo>
                  <a:pt x="422" y="1357"/>
                </a:lnTo>
                <a:lnTo>
                  <a:pt x="418" y="1359"/>
                </a:lnTo>
                <a:lnTo>
                  <a:pt x="417" y="1360"/>
                </a:lnTo>
                <a:lnTo>
                  <a:pt x="412" y="1361"/>
                </a:lnTo>
                <a:lnTo>
                  <a:pt x="395" y="1366"/>
                </a:lnTo>
                <a:lnTo>
                  <a:pt x="392" y="1366"/>
                </a:lnTo>
                <a:lnTo>
                  <a:pt x="388" y="1367"/>
                </a:lnTo>
                <a:lnTo>
                  <a:pt x="383" y="1367"/>
                </a:lnTo>
                <a:lnTo>
                  <a:pt x="364" y="1367"/>
                </a:lnTo>
                <a:lnTo>
                  <a:pt x="360" y="1367"/>
                </a:lnTo>
                <a:lnTo>
                  <a:pt x="358" y="1366"/>
                </a:lnTo>
                <a:lnTo>
                  <a:pt x="355" y="1366"/>
                </a:lnTo>
                <a:lnTo>
                  <a:pt x="353" y="1366"/>
                </a:lnTo>
                <a:lnTo>
                  <a:pt x="352" y="1365"/>
                </a:lnTo>
                <a:lnTo>
                  <a:pt x="349" y="1365"/>
                </a:lnTo>
                <a:lnTo>
                  <a:pt x="347" y="1363"/>
                </a:lnTo>
                <a:lnTo>
                  <a:pt x="343" y="1361"/>
                </a:lnTo>
                <a:lnTo>
                  <a:pt x="341" y="1360"/>
                </a:lnTo>
                <a:lnTo>
                  <a:pt x="338" y="1359"/>
                </a:lnTo>
                <a:lnTo>
                  <a:pt x="337" y="1356"/>
                </a:lnTo>
                <a:lnTo>
                  <a:pt x="334" y="1354"/>
                </a:lnTo>
                <a:lnTo>
                  <a:pt x="330" y="1351"/>
                </a:lnTo>
                <a:lnTo>
                  <a:pt x="330" y="1350"/>
                </a:lnTo>
                <a:lnTo>
                  <a:pt x="328" y="1348"/>
                </a:lnTo>
                <a:lnTo>
                  <a:pt x="326" y="1346"/>
                </a:lnTo>
                <a:lnTo>
                  <a:pt x="325" y="1344"/>
                </a:lnTo>
                <a:lnTo>
                  <a:pt x="324" y="1341"/>
                </a:lnTo>
                <a:lnTo>
                  <a:pt x="323" y="1338"/>
                </a:lnTo>
                <a:lnTo>
                  <a:pt x="322" y="1337"/>
                </a:lnTo>
                <a:lnTo>
                  <a:pt x="320" y="1332"/>
                </a:lnTo>
                <a:lnTo>
                  <a:pt x="319" y="1328"/>
                </a:lnTo>
                <a:lnTo>
                  <a:pt x="319" y="1324"/>
                </a:lnTo>
                <a:lnTo>
                  <a:pt x="318" y="1317"/>
                </a:lnTo>
                <a:lnTo>
                  <a:pt x="318" y="1311"/>
                </a:lnTo>
                <a:lnTo>
                  <a:pt x="318" y="1304"/>
                </a:lnTo>
                <a:lnTo>
                  <a:pt x="318" y="1279"/>
                </a:lnTo>
                <a:lnTo>
                  <a:pt x="318" y="1112"/>
                </a:lnTo>
                <a:lnTo>
                  <a:pt x="307" y="1112"/>
                </a:lnTo>
                <a:lnTo>
                  <a:pt x="301" y="1112"/>
                </a:lnTo>
                <a:lnTo>
                  <a:pt x="295" y="1111"/>
                </a:lnTo>
                <a:lnTo>
                  <a:pt x="290" y="1111"/>
                </a:lnTo>
                <a:lnTo>
                  <a:pt x="285" y="1108"/>
                </a:lnTo>
                <a:lnTo>
                  <a:pt x="283" y="1107"/>
                </a:lnTo>
                <a:lnTo>
                  <a:pt x="282" y="1105"/>
                </a:lnTo>
                <a:lnTo>
                  <a:pt x="280" y="1103"/>
                </a:lnTo>
                <a:lnTo>
                  <a:pt x="279" y="1102"/>
                </a:lnTo>
                <a:lnTo>
                  <a:pt x="279" y="1100"/>
                </a:lnTo>
                <a:lnTo>
                  <a:pt x="279" y="1095"/>
                </a:lnTo>
                <a:lnTo>
                  <a:pt x="280" y="1090"/>
                </a:lnTo>
                <a:lnTo>
                  <a:pt x="282" y="1089"/>
                </a:lnTo>
                <a:lnTo>
                  <a:pt x="283" y="1088"/>
                </a:lnTo>
                <a:lnTo>
                  <a:pt x="285" y="1086"/>
                </a:lnTo>
                <a:lnTo>
                  <a:pt x="286" y="1085"/>
                </a:lnTo>
                <a:lnTo>
                  <a:pt x="289" y="1083"/>
                </a:lnTo>
                <a:lnTo>
                  <a:pt x="291" y="1081"/>
                </a:lnTo>
                <a:lnTo>
                  <a:pt x="297" y="1080"/>
                </a:lnTo>
                <a:lnTo>
                  <a:pt x="303" y="1078"/>
                </a:lnTo>
                <a:lnTo>
                  <a:pt x="309" y="1075"/>
                </a:lnTo>
                <a:lnTo>
                  <a:pt x="313" y="1074"/>
                </a:lnTo>
                <a:lnTo>
                  <a:pt x="314" y="1073"/>
                </a:lnTo>
                <a:lnTo>
                  <a:pt x="315" y="1072"/>
                </a:lnTo>
                <a:lnTo>
                  <a:pt x="319" y="1069"/>
                </a:lnTo>
                <a:lnTo>
                  <a:pt x="320" y="1068"/>
                </a:lnTo>
                <a:lnTo>
                  <a:pt x="322" y="1066"/>
                </a:lnTo>
                <a:lnTo>
                  <a:pt x="323" y="1062"/>
                </a:lnTo>
                <a:lnTo>
                  <a:pt x="324" y="1058"/>
                </a:lnTo>
                <a:lnTo>
                  <a:pt x="325" y="1056"/>
                </a:lnTo>
                <a:lnTo>
                  <a:pt x="325" y="1053"/>
                </a:lnTo>
                <a:lnTo>
                  <a:pt x="326" y="1049"/>
                </a:lnTo>
                <a:lnTo>
                  <a:pt x="326" y="1042"/>
                </a:lnTo>
                <a:lnTo>
                  <a:pt x="328" y="1029"/>
                </a:lnTo>
                <a:lnTo>
                  <a:pt x="330" y="1016"/>
                </a:lnTo>
                <a:lnTo>
                  <a:pt x="331" y="1013"/>
                </a:lnTo>
                <a:lnTo>
                  <a:pt x="334" y="1011"/>
                </a:lnTo>
                <a:lnTo>
                  <a:pt x="337" y="1007"/>
                </a:lnTo>
                <a:lnTo>
                  <a:pt x="340" y="1006"/>
                </a:lnTo>
                <a:lnTo>
                  <a:pt x="341" y="1006"/>
                </a:lnTo>
                <a:lnTo>
                  <a:pt x="343" y="1005"/>
                </a:lnTo>
                <a:lnTo>
                  <a:pt x="346" y="1005"/>
                </a:lnTo>
                <a:lnTo>
                  <a:pt x="348" y="1006"/>
                </a:lnTo>
                <a:lnTo>
                  <a:pt x="349" y="1006"/>
                </a:lnTo>
                <a:lnTo>
                  <a:pt x="352" y="1008"/>
                </a:lnTo>
                <a:lnTo>
                  <a:pt x="355" y="1011"/>
                </a:lnTo>
                <a:lnTo>
                  <a:pt x="357" y="1014"/>
                </a:lnTo>
                <a:lnTo>
                  <a:pt x="359" y="1017"/>
                </a:lnTo>
                <a:lnTo>
                  <a:pt x="359" y="1022"/>
                </a:lnTo>
                <a:lnTo>
                  <a:pt x="359" y="1025"/>
                </a:lnTo>
                <a:lnTo>
                  <a:pt x="359" y="1030"/>
                </a:lnTo>
                <a:lnTo>
                  <a:pt x="359" y="1040"/>
                </a:lnTo>
                <a:lnTo>
                  <a:pt x="359" y="1074"/>
                </a:lnTo>
                <a:close/>
                <a:moveTo>
                  <a:pt x="3668" y="962"/>
                </a:moveTo>
                <a:lnTo>
                  <a:pt x="3681" y="963"/>
                </a:lnTo>
                <a:lnTo>
                  <a:pt x="3682" y="966"/>
                </a:lnTo>
                <a:lnTo>
                  <a:pt x="3683" y="968"/>
                </a:lnTo>
                <a:lnTo>
                  <a:pt x="3684" y="970"/>
                </a:lnTo>
                <a:lnTo>
                  <a:pt x="3684" y="974"/>
                </a:lnTo>
                <a:lnTo>
                  <a:pt x="3684" y="979"/>
                </a:lnTo>
                <a:lnTo>
                  <a:pt x="3684" y="1000"/>
                </a:lnTo>
                <a:lnTo>
                  <a:pt x="3684" y="1064"/>
                </a:lnTo>
                <a:lnTo>
                  <a:pt x="3684" y="1239"/>
                </a:lnTo>
                <a:lnTo>
                  <a:pt x="3684" y="1295"/>
                </a:lnTo>
                <a:lnTo>
                  <a:pt x="3684" y="1312"/>
                </a:lnTo>
                <a:lnTo>
                  <a:pt x="3685" y="1321"/>
                </a:lnTo>
                <a:lnTo>
                  <a:pt x="3685" y="1328"/>
                </a:lnTo>
                <a:lnTo>
                  <a:pt x="3689" y="1330"/>
                </a:lnTo>
                <a:lnTo>
                  <a:pt x="3691" y="1330"/>
                </a:lnTo>
                <a:lnTo>
                  <a:pt x="3697" y="1333"/>
                </a:lnTo>
                <a:lnTo>
                  <a:pt x="3702" y="1335"/>
                </a:lnTo>
                <a:lnTo>
                  <a:pt x="3706" y="1337"/>
                </a:lnTo>
                <a:lnTo>
                  <a:pt x="3712" y="1338"/>
                </a:lnTo>
                <a:lnTo>
                  <a:pt x="3714" y="1339"/>
                </a:lnTo>
                <a:lnTo>
                  <a:pt x="3722" y="1343"/>
                </a:lnTo>
                <a:lnTo>
                  <a:pt x="3724" y="1344"/>
                </a:lnTo>
                <a:lnTo>
                  <a:pt x="3725" y="1345"/>
                </a:lnTo>
                <a:lnTo>
                  <a:pt x="3725" y="1348"/>
                </a:lnTo>
                <a:lnTo>
                  <a:pt x="3726" y="1351"/>
                </a:lnTo>
                <a:lnTo>
                  <a:pt x="3726" y="1356"/>
                </a:lnTo>
                <a:lnTo>
                  <a:pt x="3725" y="1359"/>
                </a:lnTo>
                <a:lnTo>
                  <a:pt x="3722" y="1362"/>
                </a:lnTo>
                <a:lnTo>
                  <a:pt x="3717" y="1363"/>
                </a:lnTo>
                <a:lnTo>
                  <a:pt x="3689" y="1365"/>
                </a:lnTo>
                <a:lnTo>
                  <a:pt x="3633" y="1365"/>
                </a:lnTo>
                <a:lnTo>
                  <a:pt x="3620" y="1365"/>
                </a:lnTo>
                <a:lnTo>
                  <a:pt x="3614" y="1365"/>
                </a:lnTo>
                <a:lnTo>
                  <a:pt x="3608" y="1363"/>
                </a:lnTo>
                <a:lnTo>
                  <a:pt x="3603" y="1359"/>
                </a:lnTo>
                <a:lnTo>
                  <a:pt x="3603" y="1357"/>
                </a:lnTo>
                <a:lnTo>
                  <a:pt x="3602" y="1356"/>
                </a:lnTo>
                <a:lnTo>
                  <a:pt x="3602" y="1351"/>
                </a:lnTo>
                <a:lnTo>
                  <a:pt x="3603" y="1346"/>
                </a:lnTo>
                <a:lnTo>
                  <a:pt x="3604" y="1345"/>
                </a:lnTo>
                <a:lnTo>
                  <a:pt x="3607" y="1344"/>
                </a:lnTo>
                <a:lnTo>
                  <a:pt x="3609" y="1341"/>
                </a:lnTo>
                <a:lnTo>
                  <a:pt x="3610" y="1341"/>
                </a:lnTo>
                <a:lnTo>
                  <a:pt x="3613" y="1340"/>
                </a:lnTo>
                <a:lnTo>
                  <a:pt x="3614" y="1340"/>
                </a:lnTo>
                <a:lnTo>
                  <a:pt x="3616" y="1339"/>
                </a:lnTo>
                <a:lnTo>
                  <a:pt x="3621" y="1338"/>
                </a:lnTo>
                <a:lnTo>
                  <a:pt x="3622" y="1337"/>
                </a:lnTo>
                <a:lnTo>
                  <a:pt x="3625" y="1337"/>
                </a:lnTo>
                <a:lnTo>
                  <a:pt x="3631" y="1334"/>
                </a:lnTo>
                <a:lnTo>
                  <a:pt x="3635" y="1333"/>
                </a:lnTo>
                <a:lnTo>
                  <a:pt x="3638" y="1330"/>
                </a:lnTo>
                <a:lnTo>
                  <a:pt x="3642" y="1329"/>
                </a:lnTo>
                <a:lnTo>
                  <a:pt x="3643" y="1328"/>
                </a:lnTo>
                <a:lnTo>
                  <a:pt x="3643" y="1327"/>
                </a:lnTo>
                <a:lnTo>
                  <a:pt x="3644" y="1326"/>
                </a:lnTo>
                <a:lnTo>
                  <a:pt x="3644" y="1323"/>
                </a:lnTo>
                <a:lnTo>
                  <a:pt x="3644" y="1317"/>
                </a:lnTo>
                <a:lnTo>
                  <a:pt x="3644" y="1306"/>
                </a:lnTo>
                <a:lnTo>
                  <a:pt x="3644" y="1249"/>
                </a:lnTo>
                <a:lnTo>
                  <a:pt x="3644" y="1091"/>
                </a:lnTo>
                <a:lnTo>
                  <a:pt x="3644" y="1040"/>
                </a:lnTo>
                <a:lnTo>
                  <a:pt x="3644" y="1027"/>
                </a:lnTo>
                <a:lnTo>
                  <a:pt x="3644" y="1019"/>
                </a:lnTo>
                <a:lnTo>
                  <a:pt x="3644" y="1013"/>
                </a:lnTo>
                <a:lnTo>
                  <a:pt x="3642" y="1012"/>
                </a:lnTo>
                <a:lnTo>
                  <a:pt x="3638" y="1012"/>
                </a:lnTo>
                <a:lnTo>
                  <a:pt x="3632" y="1012"/>
                </a:lnTo>
                <a:lnTo>
                  <a:pt x="3609" y="1012"/>
                </a:lnTo>
                <a:lnTo>
                  <a:pt x="3608" y="1012"/>
                </a:lnTo>
                <a:lnTo>
                  <a:pt x="3606" y="1009"/>
                </a:lnTo>
                <a:lnTo>
                  <a:pt x="3604" y="1008"/>
                </a:lnTo>
                <a:lnTo>
                  <a:pt x="3603" y="1006"/>
                </a:lnTo>
                <a:lnTo>
                  <a:pt x="3603" y="1003"/>
                </a:lnTo>
                <a:lnTo>
                  <a:pt x="3603" y="1001"/>
                </a:lnTo>
                <a:lnTo>
                  <a:pt x="3604" y="999"/>
                </a:lnTo>
                <a:lnTo>
                  <a:pt x="3604" y="996"/>
                </a:lnTo>
                <a:lnTo>
                  <a:pt x="3607" y="994"/>
                </a:lnTo>
                <a:lnTo>
                  <a:pt x="3612" y="991"/>
                </a:lnTo>
                <a:lnTo>
                  <a:pt x="3621" y="986"/>
                </a:lnTo>
                <a:lnTo>
                  <a:pt x="3624" y="985"/>
                </a:lnTo>
                <a:lnTo>
                  <a:pt x="3626" y="984"/>
                </a:lnTo>
                <a:lnTo>
                  <a:pt x="3630" y="983"/>
                </a:lnTo>
                <a:lnTo>
                  <a:pt x="3632" y="981"/>
                </a:lnTo>
                <a:lnTo>
                  <a:pt x="3635" y="980"/>
                </a:lnTo>
                <a:lnTo>
                  <a:pt x="3637" y="979"/>
                </a:lnTo>
                <a:lnTo>
                  <a:pt x="3638" y="978"/>
                </a:lnTo>
                <a:lnTo>
                  <a:pt x="3641" y="977"/>
                </a:lnTo>
                <a:lnTo>
                  <a:pt x="3643" y="975"/>
                </a:lnTo>
                <a:lnTo>
                  <a:pt x="3645" y="974"/>
                </a:lnTo>
                <a:lnTo>
                  <a:pt x="3648" y="973"/>
                </a:lnTo>
                <a:lnTo>
                  <a:pt x="3650" y="970"/>
                </a:lnTo>
                <a:lnTo>
                  <a:pt x="3651" y="970"/>
                </a:lnTo>
                <a:lnTo>
                  <a:pt x="3654" y="969"/>
                </a:lnTo>
                <a:lnTo>
                  <a:pt x="3656" y="968"/>
                </a:lnTo>
                <a:lnTo>
                  <a:pt x="3659" y="967"/>
                </a:lnTo>
                <a:lnTo>
                  <a:pt x="3664" y="964"/>
                </a:lnTo>
                <a:lnTo>
                  <a:pt x="3666" y="964"/>
                </a:lnTo>
                <a:lnTo>
                  <a:pt x="3668" y="963"/>
                </a:lnTo>
                <a:lnTo>
                  <a:pt x="3668" y="962"/>
                </a:lnTo>
                <a:close/>
                <a:moveTo>
                  <a:pt x="2161" y="1321"/>
                </a:moveTo>
                <a:lnTo>
                  <a:pt x="2154" y="1312"/>
                </a:lnTo>
                <a:lnTo>
                  <a:pt x="2150" y="1308"/>
                </a:lnTo>
                <a:lnTo>
                  <a:pt x="2150" y="1307"/>
                </a:lnTo>
                <a:lnTo>
                  <a:pt x="2148" y="1306"/>
                </a:lnTo>
                <a:lnTo>
                  <a:pt x="2147" y="1304"/>
                </a:lnTo>
                <a:lnTo>
                  <a:pt x="2144" y="1301"/>
                </a:lnTo>
                <a:lnTo>
                  <a:pt x="2143" y="1299"/>
                </a:lnTo>
                <a:lnTo>
                  <a:pt x="2142" y="1296"/>
                </a:lnTo>
                <a:lnTo>
                  <a:pt x="2142" y="1295"/>
                </a:lnTo>
                <a:lnTo>
                  <a:pt x="2139" y="1293"/>
                </a:lnTo>
                <a:lnTo>
                  <a:pt x="2138" y="1291"/>
                </a:lnTo>
                <a:lnTo>
                  <a:pt x="2137" y="1290"/>
                </a:lnTo>
                <a:lnTo>
                  <a:pt x="2137" y="1288"/>
                </a:lnTo>
                <a:lnTo>
                  <a:pt x="2136" y="1285"/>
                </a:lnTo>
                <a:lnTo>
                  <a:pt x="2133" y="1284"/>
                </a:lnTo>
                <a:lnTo>
                  <a:pt x="2133" y="1282"/>
                </a:lnTo>
                <a:lnTo>
                  <a:pt x="2132" y="1279"/>
                </a:lnTo>
                <a:lnTo>
                  <a:pt x="2131" y="1278"/>
                </a:lnTo>
                <a:lnTo>
                  <a:pt x="2130" y="1276"/>
                </a:lnTo>
                <a:lnTo>
                  <a:pt x="2129" y="1273"/>
                </a:lnTo>
                <a:lnTo>
                  <a:pt x="2126" y="1268"/>
                </a:lnTo>
                <a:lnTo>
                  <a:pt x="2125" y="1265"/>
                </a:lnTo>
                <a:lnTo>
                  <a:pt x="2124" y="1263"/>
                </a:lnTo>
                <a:lnTo>
                  <a:pt x="2124" y="1261"/>
                </a:lnTo>
                <a:lnTo>
                  <a:pt x="2121" y="1257"/>
                </a:lnTo>
                <a:lnTo>
                  <a:pt x="2121" y="1255"/>
                </a:lnTo>
                <a:lnTo>
                  <a:pt x="2119" y="1249"/>
                </a:lnTo>
                <a:lnTo>
                  <a:pt x="2118" y="1247"/>
                </a:lnTo>
                <a:lnTo>
                  <a:pt x="2118" y="1245"/>
                </a:lnTo>
                <a:lnTo>
                  <a:pt x="2116" y="1244"/>
                </a:lnTo>
                <a:lnTo>
                  <a:pt x="2116" y="1241"/>
                </a:lnTo>
                <a:lnTo>
                  <a:pt x="2115" y="1240"/>
                </a:lnTo>
                <a:lnTo>
                  <a:pt x="2115" y="1238"/>
                </a:lnTo>
                <a:lnTo>
                  <a:pt x="2114" y="1234"/>
                </a:lnTo>
                <a:lnTo>
                  <a:pt x="2112" y="1222"/>
                </a:lnTo>
                <a:lnTo>
                  <a:pt x="2107" y="1199"/>
                </a:lnTo>
                <a:lnTo>
                  <a:pt x="2106" y="1186"/>
                </a:lnTo>
                <a:lnTo>
                  <a:pt x="2106" y="1178"/>
                </a:lnTo>
                <a:lnTo>
                  <a:pt x="2104" y="1172"/>
                </a:lnTo>
                <a:lnTo>
                  <a:pt x="2104" y="1163"/>
                </a:lnTo>
                <a:lnTo>
                  <a:pt x="2104" y="1155"/>
                </a:lnTo>
                <a:lnTo>
                  <a:pt x="2106" y="1149"/>
                </a:lnTo>
                <a:lnTo>
                  <a:pt x="2106" y="1141"/>
                </a:lnTo>
                <a:lnTo>
                  <a:pt x="2107" y="1130"/>
                </a:lnTo>
                <a:lnTo>
                  <a:pt x="2112" y="1103"/>
                </a:lnTo>
                <a:lnTo>
                  <a:pt x="2113" y="1100"/>
                </a:lnTo>
                <a:lnTo>
                  <a:pt x="2114" y="1095"/>
                </a:lnTo>
                <a:lnTo>
                  <a:pt x="2114" y="1094"/>
                </a:lnTo>
                <a:lnTo>
                  <a:pt x="2115" y="1091"/>
                </a:lnTo>
                <a:lnTo>
                  <a:pt x="2115" y="1090"/>
                </a:lnTo>
                <a:lnTo>
                  <a:pt x="2116" y="1088"/>
                </a:lnTo>
                <a:lnTo>
                  <a:pt x="2118" y="1083"/>
                </a:lnTo>
                <a:lnTo>
                  <a:pt x="2119" y="1080"/>
                </a:lnTo>
                <a:lnTo>
                  <a:pt x="2120" y="1077"/>
                </a:lnTo>
                <a:lnTo>
                  <a:pt x="2121" y="1074"/>
                </a:lnTo>
                <a:lnTo>
                  <a:pt x="2122" y="1072"/>
                </a:lnTo>
                <a:lnTo>
                  <a:pt x="2124" y="1071"/>
                </a:lnTo>
                <a:lnTo>
                  <a:pt x="2125" y="1067"/>
                </a:lnTo>
                <a:lnTo>
                  <a:pt x="2126" y="1064"/>
                </a:lnTo>
                <a:lnTo>
                  <a:pt x="2127" y="1062"/>
                </a:lnTo>
                <a:lnTo>
                  <a:pt x="2129" y="1060"/>
                </a:lnTo>
                <a:lnTo>
                  <a:pt x="2130" y="1057"/>
                </a:lnTo>
                <a:lnTo>
                  <a:pt x="2131" y="1055"/>
                </a:lnTo>
                <a:lnTo>
                  <a:pt x="2132" y="1053"/>
                </a:lnTo>
                <a:lnTo>
                  <a:pt x="2133" y="1050"/>
                </a:lnTo>
                <a:lnTo>
                  <a:pt x="2136" y="1046"/>
                </a:lnTo>
                <a:lnTo>
                  <a:pt x="2137" y="1045"/>
                </a:lnTo>
                <a:lnTo>
                  <a:pt x="2138" y="1044"/>
                </a:lnTo>
                <a:lnTo>
                  <a:pt x="2139" y="1041"/>
                </a:lnTo>
                <a:lnTo>
                  <a:pt x="2141" y="1040"/>
                </a:lnTo>
                <a:lnTo>
                  <a:pt x="2142" y="1038"/>
                </a:lnTo>
                <a:lnTo>
                  <a:pt x="2143" y="1036"/>
                </a:lnTo>
                <a:lnTo>
                  <a:pt x="2143" y="1034"/>
                </a:lnTo>
                <a:lnTo>
                  <a:pt x="2145" y="1031"/>
                </a:lnTo>
                <a:lnTo>
                  <a:pt x="2147" y="1030"/>
                </a:lnTo>
                <a:lnTo>
                  <a:pt x="2149" y="1029"/>
                </a:lnTo>
                <a:lnTo>
                  <a:pt x="2151" y="1025"/>
                </a:lnTo>
                <a:lnTo>
                  <a:pt x="2154" y="1022"/>
                </a:lnTo>
                <a:lnTo>
                  <a:pt x="2159" y="1017"/>
                </a:lnTo>
                <a:lnTo>
                  <a:pt x="2165" y="1009"/>
                </a:lnTo>
                <a:lnTo>
                  <a:pt x="2171" y="1003"/>
                </a:lnTo>
                <a:lnTo>
                  <a:pt x="2172" y="1002"/>
                </a:lnTo>
                <a:lnTo>
                  <a:pt x="2176" y="999"/>
                </a:lnTo>
                <a:lnTo>
                  <a:pt x="2179" y="996"/>
                </a:lnTo>
                <a:lnTo>
                  <a:pt x="2183" y="994"/>
                </a:lnTo>
                <a:lnTo>
                  <a:pt x="2184" y="992"/>
                </a:lnTo>
                <a:lnTo>
                  <a:pt x="2187" y="991"/>
                </a:lnTo>
                <a:lnTo>
                  <a:pt x="2187" y="990"/>
                </a:lnTo>
                <a:lnTo>
                  <a:pt x="2189" y="989"/>
                </a:lnTo>
                <a:lnTo>
                  <a:pt x="2190" y="988"/>
                </a:lnTo>
                <a:lnTo>
                  <a:pt x="2193" y="986"/>
                </a:lnTo>
                <a:lnTo>
                  <a:pt x="2194" y="985"/>
                </a:lnTo>
                <a:lnTo>
                  <a:pt x="2196" y="985"/>
                </a:lnTo>
                <a:lnTo>
                  <a:pt x="2197" y="984"/>
                </a:lnTo>
                <a:lnTo>
                  <a:pt x="2201" y="981"/>
                </a:lnTo>
                <a:lnTo>
                  <a:pt x="2202" y="980"/>
                </a:lnTo>
                <a:lnTo>
                  <a:pt x="2206" y="978"/>
                </a:lnTo>
                <a:lnTo>
                  <a:pt x="2208" y="977"/>
                </a:lnTo>
                <a:lnTo>
                  <a:pt x="2211" y="975"/>
                </a:lnTo>
                <a:lnTo>
                  <a:pt x="2213" y="974"/>
                </a:lnTo>
                <a:lnTo>
                  <a:pt x="2216" y="973"/>
                </a:lnTo>
                <a:lnTo>
                  <a:pt x="2217" y="972"/>
                </a:lnTo>
                <a:lnTo>
                  <a:pt x="2220" y="970"/>
                </a:lnTo>
                <a:lnTo>
                  <a:pt x="2224" y="969"/>
                </a:lnTo>
                <a:lnTo>
                  <a:pt x="2226" y="968"/>
                </a:lnTo>
                <a:lnTo>
                  <a:pt x="2228" y="968"/>
                </a:lnTo>
                <a:lnTo>
                  <a:pt x="2230" y="967"/>
                </a:lnTo>
                <a:lnTo>
                  <a:pt x="2237" y="964"/>
                </a:lnTo>
                <a:lnTo>
                  <a:pt x="2239" y="963"/>
                </a:lnTo>
                <a:lnTo>
                  <a:pt x="2241" y="963"/>
                </a:lnTo>
                <a:lnTo>
                  <a:pt x="2242" y="962"/>
                </a:lnTo>
                <a:lnTo>
                  <a:pt x="2245" y="962"/>
                </a:lnTo>
                <a:lnTo>
                  <a:pt x="2251" y="959"/>
                </a:lnTo>
                <a:lnTo>
                  <a:pt x="2253" y="959"/>
                </a:lnTo>
                <a:lnTo>
                  <a:pt x="2255" y="958"/>
                </a:lnTo>
                <a:lnTo>
                  <a:pt x="2259" y="958"/>
                </a:lnTo>
                <a:lnTo>
                  <a:pt x="2261" y="957"/>
                </a:lnTo>
                <a:lnTo>
                  <a:pt x="2274" y="956"/>
                </a:lnTo>
                <a:lnTo>
                  <a:pt x="2283" y="956"/>
                </a:lnTo>
                <a:lnTo>
                  <a:pt x="2286" y="955"/>
                </a:lnTo>
                <a:lnTo>
                  <a:pt x="2289" y="955"/>
                </a:lnTo>
                <a:lnTo>
                  <a:pt x="2295" y="956"/>
                </a:lnTo>
                <a:lnTo>
                  <a:pt x="2315" y="956"/>
                </a:lnTo>
                <a:lnTo>
                  <a:pt x="2340" y="959"/>
                </a:lnTo>
                <a:lnTo>
                  <a:pt x="2342" y="961"/>
                </a:lnTo>
                <a:lnTo>
                  <a:pt x="2345" y="961"/>
                </a:lnTo>
                <a:lnTo>
                  <a:pt x="2346" y="962"/>
                </a:lnTo>
                <a:lnTo>
                  <a:pt x="2349" y="962"/>
                </a:lnTo>
                <a:lnTo>
                  <a:pt x="2351" y="963"/>
                </a:lnTo>
                <a:lnTo>
                  <a:pt x="2353" y="963"/>
                </a:lnTo>
                <a:lnTo>
                  <a:pt x="2355" y="964"/>
                </a:lnTo>
                <a:lnTo>
                  <a:pt x="2357" y="964"/>
                </a:lnTo>
                <a:lnTo>
                  <a:pt x="2358" y="966"/>
                </a:lnTo>
                <a:lnTo>
                  <a:pt x="2361" y="966"/>
                </a:lnTo>
                <a:lnTo>
                  <a:pt x="2362" y="967"/>
                </a:lnTo>
                <a:lnTo>
                  <a:pt x="2367" y="968"/>
                </a:lnTo>
                <a:lnTo>
                  <a:pt x="2369" y="969"/>
                </a:lnTo>
                <a:lnTo>
                  <a:pt x="2374" y="970"/>
                </a:lnTo>
                <a:lnTo>
                  <a:pt x="2376" y="973"/>
                </a:lnTo>
                <a:lnTo>
                  <a:pt x="2379" y="974"/>
                </a:lnTo>
                <a:lnTo>
                  <a:pt x="2381" y="975"/>
                </a:lnTo>
                <a:lnTo>
                  <a:pt x="2384" y="977"/>
                </a:lnTo>
                <a:lnTo>
                  <a:pt x="2386" y="978"/>
                </a:lnTo>
                <a:lnTo>
                  <a:pt x="2388" y="979"/>
                </a:lnTo>
                <a:lnTo>
                  <a:pt x="2391" y="980"/>
                </a:lnTo>
                <a:lnTo>
                  <a:pt x="2394" y="983"/>
                </a:lnTo>
                <a:lnTo>
                  <a:pt x="2396" y="984"/>
                </a:lnTo>
                <a:lnTo>
                  <a:pt x="2399" y="985"/>
                </a:lnTo>
                <a:lnTo>
                  <a:pt x="2400" y="986"/>
                </a:lnTo>
                <a:lnTo>
                  <a:pt x="2403" y="988"/>
                </a:lnTo>
                <a:lnTo>
                  <a:pt x="2405" y="990"/>
                </a:lnTo>
                <a:lnTo>
                  <a:pt x="2407" y="990"/>
                </a:lnTo>
                <a:lnTo>
                  <a:pt x="2407" y="991"/>
                </a:lnTo>
                <a:lnTo>
                  <a:pt x="2408" y="1067"/>
                </a:lnTo>
                <a:lnTo>
                  <a:pt x="2407" y="1071"/>
                </a:lnTo>
                <a:lnTo>
                  <a:pt x="2405" y="1072"/>
                </a:lnTo>
                <a:lnTo>
                  <a:pt x="2404" y="1073"/>
                </a:lnTo>
                <a:lnTo>
                  <a:pt x="2403" y="1075"/>
                </a:lnTo>
                <a:lnTo>
                  <a:pt x="2400" y="1077"/>
                </a:lnTo>
                <a:lnTo>
                  <a:pt x="2398" y="1077"/>
                </a:lnTo>
                <a:lnTo>
                  <a:pt x="2397" y="1078"/>
                </a:lnTo>
                <a:lnTo>
                  <a:pt x="2394" y="1078"/>
                </a:lnTo>
                <a:lnTo>
                  <a:pt x="2391" y="1078"/>
                </a:lnTo>
                <a:lnTo>
                  <a:pt x="2386" y="1078"/>
                </a:lnTo>
                <a:lnTo>
                  <a:pt x="2384" y="1077"/>
                </a:lnTo>
                <a:lnTo>
                  <a:pt x="2382" y="1074"/>
                </a:lnTo>
                <a:lnTo>
                  <a:pt x="2381" y="1073"/>
                </a:lnTo>
                <a:lnTo>
                  <a:pt x="2379" y="1072"/>
                </a:lnTo>
                <a:lnTo>
                  <a:pt x="2378" y="1068"/>
                </a:lnTo>
                <a:lnTo>
                  <a:pt x="2376" y="1066"/>
                </a:lnTo>
                <a:lnTo>
                  <a:pt x="2375" y="1062"/>
                </a:lnTo>
                <a:lnTo>
                  <a:pt x="2374" y="1057"/>
                </a:lnTo>
                <a:lnTo>
                  <a:pt x="2373" y="1053"/>
                </a:lnTo>
                <a:lnTo>
                  <a:pt x="2371" y="1050"/>
                </a:lnTo>
                <a:lnTo>
                  <a:pt x="2367" y="1035"/>
                </a:lnTo>
                <a:lnTo>
                  <a:pt x="2361" y="1020"/>
                </a:lnTo>
                <a:lnTo>
                  <a:pt x="2361" y="1014"/>
                </a:lnTo>
                <a:lnTo>
                  <a:pt x="2359" y="1013"/>
                </a:lnTo>
                <a:lnTo>
                  <a:pt x="2358" y="1008"/>
                </a:lnTo>
                <a:lnTo>
                  <a:pt x="2357" y="1005"/>
                </a:lnTo>
                <a:lnTo>
                  <a:pt x="2355" y="1003"/>
                </a:lnTo>
                <a:lnTo>
                  <a:pt x="2352" y="1000"/>
                </a:lnTo>
                <a:lnTo>
                  <a:pt x="2350" y="1000"/>
                </a:lnTo>
                <a:lnTo>
                  <a:pt x="2346" y="999"/>
                </a:lnTo>
                <a:lnTo>
                  <a:pt x="2345" y="997"/>
                </a:lnTo>
                <a:lnTo>
                  <a:pt x="2341" y="995"/>
                </a:lnTo>
                <a:lnTo>
                  <a:pt x="2339" y="995"/>
                </a:lnTo>
                <a:lnTo>
                  <a:pt x="2334" y="992"/>
                </a:lnTo>
                <a:lnTo>
                  <a:pt x="2333" y="992"/>
                </a:lnTo>
                <a:lnTo>
                  <a:pt x="2332" y="991"/>
                </a:lnTo>
                <a:lnTo>
                  <a:pt x="2327" y="990"/>
                </a:lnTo>
                <a:lnTo>
                  <a:pt x="2324" y="990"/>
                </a:lnTo>
                <a:lnTo>
                  <a:pt x="2316" y="988"/>
                </a:lnTo>
                <a:lnTo>
                  <a:pt x="2303" y="986"/>
                </a:lnTo>
                <a:lnTo>
                  <a:pt x="2294" y="985"/>
                </a:lnTo>
                <a:lnTo>
                  <a:pt x="2289" y="985"/>
                </a:lnTo>
                <a:lnTo>
                  <a:pt x="2286" y="985"/>
                </a:lnTo>
                <a:lnTo>
                  <a:pt x="2283" y="985"/>
                </a:lnTo>
                <a:lnTo>
                  <a:pt x="2277" y="985"/>
                </a:lnTo>
                <a:lnTo>
                  <a:pt x="2268" y="986"/>
                </a:lnTo>
                <a:lnTo>
                  <a:pt x="2247" y="992"/>
                </a:lnTo>
                <a:lnTo>
                  <a:pt x="2243" y="995"/>
                </a:lnTo>
                <a:lnTo>
                  <a:pt x="2240" y="996"/>
                </a:lnTo>
                <a:lnTo>
                  <a:pt x="2237" y="997"/>
                </a:lnTo>
                <a:lnTo>
                  <a:pt x="2235" y="999"/>
                </a:lnTo>
                <a:lnTo>
                  <a:pt x="2232" y="1000"/>
                </a:lnTo>
                <a:lnTo>
                  <a:pt x="2230" y="1001"/>
                </a:lnTo>
                <a:lnTo>
                  <a:pt x="2226" y="1003"/>
                </a:lnTo>
                <a:lnTo>
                  <a:pt x="2225" y="1005"/>
                </a:lnTo>
                <a:lnTo>
                  <a:pt x="2223" y="1006"/>
                </a:lnTo>
                <a:lnTo>
                  <a:pt x="2220" y="1007"/>
                </a:lnTo>
                <a:lnTo>
                  <a:pt x="2219" y="1009"/>
                </a:lnTo>
                <a:lnTo>
                  <a:pt x="2218" y="1011"/>
                </a:lnTo>
                <a:lnTo>
                  <a:pt x="2216" y="1011"/>
                </a:lnTo>
                <a:lnTo>
                  <a:pt x="2213" y="1014"/>
                </a:lnTo>
                <a:lnTo>
                  <a:pt x="2206" y="1022"/>
                </a:lnTo>
                <a:lnTo>
                  <a:pt x="2201" y="1027"/>
                </a:lnTo>
                <a:lnTo>
                  <a:pt x="2197" y="1029"/>
                </a:lnTo>
                <a:lnTo>
                  <a:pt x="2195" y="1033"/>
                </a:lnTo>
                <a:lnTo>
                  <a:pt x="2194" y="1035"/>
                </a:lnTo>
                <a:lnTo>
                  <a:pt x="2191" y="1038"/>
                </a:lnTo>
                <a:lnTo>
                  <a:pt x="2190" y="1039"/>
                </a:lnTo>
                <a:lnTo>
                  <a:pt x="2190" y="1041"/>
                </a:lnTo>
                <a:lnTo>
                  <a:pt x="2188" y="1042"/>
                </a:lnTo>
                <a:lnTo>
                  <a:pt x="2187" y="1044"/>
                </a:lnTo>
                <a:lnTo>
                  <a:pt x="2187" y="1046"/>
                </a:lnTo>
                <a:lnTo>
                  <a:pt x="2185" y="1049"/>
                </a:lnTo>
                <a:lnTo>
                  <a:pt x="2184" y="1050"/>
                </a:lnTo>
                <a:lnTo>
                  <a:pt x="2183" y="1052"/>
                </a:lnTo>
                <a:lnTo>
                  <a:pt x="2182" y="1055"/>
                </a:lnTo>
                <a:lnTo>
                  <a:pt x="2181" y="1057"/>
                </a:lnTo>
                <a:lnTo>
                  <a:pt x="2179" y="1058"/>
                </a:lnTo>
                <a:lnTo>
                  <a:pt x="2177" y="1063"/>
                </a:lnTo>
                <a:lnTo>
                  <a:pt x="2176" y="1067"/>
                </a:lnTo>
                <a:lnTo>
                  <a:pt x="2174" y="1069"/>
                </a:lnTo>
                <a:lnTo>
                  <a:pt x="2173" y="1072"/>
                </a:lnTo>
                <a:lnTo>
                  <a:pt x="2172" y="1075"/>
                </a:lnTo>
                <a:lnTo>
                  <a:pt x="2171" y="1081"/>
                </a:lnTo>
                <a:lnTo>
                  <a:pt x="2170" y="1084"/>
                </a:lnTo>
                <a:lnTo>
                  <a:pt x="2170" y="1085"/>
                </a:lnTo>
                <a:lnTo>
                  <a:pt x="2168" y="1088"/>
                </a:lnTo>
                <a:lnTo>
                  <a:pt x="2168" y="1089"/>
                </a:lnTo>
                <a:lnTo>
                  <a:pt x="2167" y="1092"/>
                </a:lnTo>
                <a:lnTo>
                  <a:pt x="2166" y="1095"/>
                </a:lnTo>
                <a:lnTo>
                  <a:pt x="2165" y="1102"/>
                </a:lnTo>
                <a:lnTo>
                  <a:pt x="2164" y="1105"/>
                </a:lnTo>
                <a:lnTo>
                  <a:pt x="2162" y="1113"/>
                </a:lnTo>
                <a:lnTo>
                  <a:pt x="2161" y="1118"/>
                </a:lnTo>
                <a:lnTo>
                  <a:pt x="2160" y="1122"/>
                </a:lnTo>
                <a:lnTo>
                  <a:pt x="2160" y="1127"/>
                </a:lnTo>
                <a:lnTo>
                  <a:pt x="2160" y="1132"/>
                </a:lnTo>
                <a:lnTo>
                  <a:pt x="2159" y="1138"/>
                </a:lnTo>
                <a:lnTo>
                  <a:pt x="2159" y="1146"/>
                </a:lnTo>
                <a:lnTo>
                  <a:pt x="2158" y="1151"/>
                </a:lnTo>
                <a:lnTo>
                  <a:pt x="2158" y="1157"/>
                </a:lnTo>
                <a:lnTo>
                  <a:pt x="2158" y="1168"/>
                </a:lnTo>
                <a:lnTo>
                  <a:pt x="2158" y="1174"/>
                </a:lnTo>
                <a:lnTo>
                  <a:pt x="2159" y="1180"/>
                </a:lnTo>
                <a:lnTo>
                  <a:pt x="2159" y="1190"/>
                </a:lnTo>
                <a:lnTo>
                  <a:pt x="2159" y="1196"/>
                </a:lnTo>
                <a:lnTo>
                  <a:pt x="2160" y="1202"/>
                </a:lnTo>
                <a:lnTo>
                  <a:pt x="2160" y="1206"/>
                </a:lnTo>
                <a:lnTo>
                  <a:pt x="2161" y="1211"/>
                </a:lnTo>
                <a:lnTo>
                  <a:pt x="2161" y="1215"/>
                </a:lnTo>
                <a:lnTo>
                  <a:pt x="2162" y="1218"/>
                </a:lnTo>
                <a:lnTo>
                  <a:pt x="2162" y="1221"/>
                </a:lnTo>
                <a:lnTo>
                  <a:pt x="2164" y="1224"/>
                </a:lnTo>
                <a:lnTo>
                  <a:pt x="2165" y="1230"/>
                </a:lnTo>
                <a:lnTo>
                  <a:pt x="2165" y="1233"/>
                </a:lnTo>
                <a:lnTo>
                  <a:pt x="2166" y="1234"/>
                </a:lnTo>
                <a:lnTo>
                  <a:pt x="2166" y="1236"/>
                </a:lnTo>
                <a:lnTo>
                  <a:pt x="2167" y="1239"/>
                </a:lnTo>
                <a:lnTo>
                  <a:pt x="2167" y="1241"/>
                </a:lnTo>
                <a:lnTo>
                  <a:pt x="2168" y="1244"/>
                </a:lnTo>
                <a:lnTo>
                  <a:pt x="2168" y="1245"/>
                </a:lnTo>
                <a:lnTo>
                  <a:pt x="2170" y="1247"/>
                </a:lnTo>
                <a:lnTo>
                  <a:pt x="2170" y="1249"/>
                </a:lnTo>
                <a:lnTo>
                  <a:pt x="2171" y="1250"/>
                </a:lnTo>
                <a:lnTo>
                  <a:pt x="2171" y="1252"/>
                </a:lnTo>
                <a:lnTo>
                  <a:pt x="2172" y="1256"/>
                </a:lnTo>
                <a:lnTo>
                  <a:pt x="2173" y="1258"/>
                </a:lnTo>
                <a:lnTo>
                  <a:pt x="2174" y="1262"/>
                </a:lnTo>
                <a:lnTo>
                  <a:pt x="2176" y="1265"/>
                </a:lnTo>
                <a:lnTo>
                  <a:pt x="2177" y="1268"/>
                </a:lnTo>
                <a:lnTo>
                  <a:pt x="2178" y="1271"/>
                </a:lnTo>
                <a:lnTo>
                  <a:pt x="2179" y="1273"/>
                </a:lnTo>
                <a:lnTo>
                  <a:pt x="2181" y="1276"/>
                </a:lnTo>
                <a:lnTo>
                  <a:pt x="2182" y="1278"/>
                </a:lnTo>
                <a:lnTo>
                  <a:pt x="2184" y="1279"/>
                </a:lnTo>
                <a:lnTo>
                  <a:pt x="2184" y="1282"/>
                </a:lnTo>
                <a:lnTo>
                  <a:pt x="2187" y="1284"/>
                </a:lnTo>
                <a:lnTo>
                  <a:pt x="2187" y="1287"/>
                </a:lnTo>
                <a:lnTo>
                  <a:pt x="2188" y="1288"/>
                </a:lnTo>
                <a:lnTo>
                  <a:pt x="2189" y="1290"/>
                </a:lnTo>
                <a:lnTo>
                  <a:pt x="2191" y="1291"/>
                </a:lnTo>
                <a:lnTo>
                  <a:pt x="2193" y="1293"/>
                </a:lnTo>
                <a:lnTo>
                  <a:pt x="2195" y="1295"/>
                </a:lnTo>
                <a:lnTo>
                  <a:pt x="2199" y="1300"/>
                </a:lnTo>
                <a:lnTo>
                  <a:pt x="2203" y="1306"/>
                </a:lnTo>
                <a:lnTo>
                  <a:pt x="2208" y="1311"/>
                </a:lnTo>
                <a:lnTo>
                  <a:pt x="2212" y="1315"/>
                </a:lnTo>
                <a:lnTo>
                  <a:pt x="2214" y="1316"/>
                </a:lnTo>
                <a:lnTo>
                  <a:pt x="2217" y="1318"/>
                </a:lnTo>
                <a:lnTo>
                  <a:pt x="2218" y="1319"/>
                </a:lnTo>
                <a:lnTo>
                  <a:pt x="2220" y="1319"/>
                </a:lnTo>
                <a:lnTo>
                  <a:pt x="2222" y="1322"/>
                </a:lnTo>
                <a:lnTo>
                  <a:pt x="2224" y="1322"/>
                </a:lnTo>
                <a:lnTo>
                  <a:pt x="2226" y="1323"/>
                </a:lnTo>
                <a:lnTo>
                  <a:pt x="2228" y="1324"/>
                </a:lnTo>
                <a:lnTo>
                  <a:pt x="2230" y="1326"/>
                </a:lnTo>
                <a:lnTo>
                  <a:pt x="2232" y="1327"/>
                </a:lnTo>
                <a:lnTo>
                  <a:pt x="2235" y="1328"/>
                </a:lnTo>
                <a:lnTo>
                  <a:pt x="2240" y="1330"/>
                </a:lnTo>
                <a:lnTo>
                  <a:pt x="2241" y="1330"/>
                </a:lnTo>
                <a:lnTo>
                  <a:pt x="2246" y="1333"/>
                </a:lnTo>
                <a:lnTo>
                  <a:pt x="2253" y="1335"/>
                </a:lnTo>
                <a:lnTo>
                  <a:pt x="2254" y="1335"/>
                </a:lnTo>
                <a:lnTo>
                  <a:pt x="2257" y="1337"/>
                </a:lnTo>
                <a:lnTo>
                  <a:pt x="2259" y="1337"/>
                </a:lnTo>
                <a:lnTo>
                  <a:pt x="2261" y="1337"/>
                </a:lnTo>
                <a:lnTo>
                  <a:pt x="2265" y="1338"/>
                </a:lnTo>
                <a:lnTo>
                  <a:pt x="2269" y="1338"/>
                </a:lnTo>
                <a:lnTo>
                  <a:pt x="2278" y="1339"/>
                </a:lnTo>
                <a:lnTo>
                  <a:pt x="2282" y="1340"/>
                </a:lnTo>
                <a:lnTo>
                  <a:pt x="2288" y="1340"/>
                </a:lnTo>
                <a:lnTo>
                  <a:pt x="2293" y="1340"/>
                </a:lnTo>
                <a:lnTo>
                  <a:pt x="2297" y="1339"/>
                </a:lnTo>
                <a:lnTo>
                  <a:pt x="2309" y="1338"/>
                </a:lnTo>
                <a:lnTo>
                  <a:pt x="2315" y="1337"/>
                </a:lnTo>
                <a:lnTo>
                  <a:pt x="2318" y="1337"/>
                </a:lnTo>
                <a:lnTo>
                  <a:pt x="2320" y="1335"/>
                </a:lnTo>
                <a:lnTo>
                  <a:pt x="2322" y="1335"/>
                </a:lnTo>
                <a:lnTo>
                  <a:pt x="2323" y="1334"/>
                </a:lnTo>
                <a:lnTo>
                  <a:pt x="2327" y="1333"/>
                </a:lnTo>
                <a:lnTo>
                  <a:pt x="2332" y="1332"/>
                </a:lnTo>
                <a:lnTo>
                  <a:pt x="2334" y="1329"/>
                </a:lnTo>
                <a:lnTo>
                  <a:pt x="2339" y="1327"/>
                </a:lnTo>
                <a:lnTo>
                  <a:pt x="2341" y="1326"/>
                </a:lnTo>
                <a:lnTo>
                  <a:pt x="2342" y="1324"/>
                </a:lnTo>
                <a:lnTo>
                  <a:pt x="2345" y="1323"/>
                </a:lnTo>
                <a:lnTo>
                  <a:pt x="2347" y="1319"/>
                </a:lnTo>
                <a:lnTo>
                  <a:pt x="2350" y="1318"/>
                </a:lnTo>
                <a:lnTo>
                  <a:pt x="2351" y="1315"/>
                </a:lnTo>
                <a:lnTo>
                  <a:pt x="2352" y="1312"/>
                </a:lnTo>
                <a:lnTo>
                  <a:pt x="2352" y="1311"/>
                </a:lnTo>
                <a:lnTo>
                  <a:pt x="2355" y="1306"/>
                </a:lnTo>
                <a:lnTo>
                  <a:pt x="2356" y="1301"/>
                </a:lnTo>
                <a:lnTo>
                  <a:pt x="2363" y="1284"/>
                </a:lnTo>
                <a:lnTo>
                  <a:pt x="2369" y="1267"/>
                </a:lnTo>
                <a:lnTo>
                  <a:pt x="2370" y="1263"/>
                </a:lnTo>
                <a:lnTo>
                  <a:pt x="2371" y="1261"/>
                </a:lnTo>
                <a:lnTo>
                  <a:pt x="2371" y="1260"/>
                </a:lnTo>
                <a:lnTo>
                  <a:pt x="2373" y="1257"/>
                </a:lnTo>
                <a:lnTo>
                  <a:pt x="2374" y="1255"/>
                </a:lnTo>
                <a:lnTo>
                  <a:pt x="2375" y="1252"/>
                </a:lnTo>
                <a:lnTo>
                  <a:pt x="2376" y="1250"/>
                </a:lnTo>
                <a:lnTo>
                  <a:pt x="2382" y="1245"/>
                </a:lnTo>
                <a:lnTo>
                  <a:pt x="2386" y="1245"/>
                </a:lnTo>
                <a:lnTo>
                  <a:pt x="2387" y="1244"/>
                </a:lnTo>
                <a:lnTo>
                  <a:pt x="2388" y="1244"/>
                </a:lnTo>
                <a:lnTo>
                  <a:pt x="2391" y="1245"/>
                </a:lnTo>
                <a:lnTo>
                  <a:pt x="2394" y="1245"/>
                </a:lnTo>
                <a:lnTo>
                  <a:pt x="2398" y="1246"/>
                </a:lnTo>
                <a:lnTo>
                  <a:pt x="2399" y="1247"/>
                </a:lnTo>
                <a:lnTo>
                  <a:pt x="2403" y="1250"/>
                </a:lnTo>
                <a:lnTo>
                  <a:pt x="2404" y="1252"/>
                </a:lnTo>
                <a:lnTo>
                  <a:pt x="2405" y="1255"/>
                </a:lnTo>
                <a:lnTo>
                  <a:pt x="2407" y="1261"/>
                </a:lnTo>
                <a:lnTo>
                  <a:pt x="2407" y="1276"/>
                </a:lnTo>
                <a:lnTo>
                  <a:pt x="2407" y="1328"/>
                </a:lnTo>
                <a:lnTo>
                  <a:pt x="2403" y="1330"/>
                </a:lnTo>
                <a:lnTo>
                  <a:pt x="2400" y="1334"/>
                </a:lnTo>
                <a:lnTo>
                  <a:pt x="2398" y="1335"/>
                </a:lnTo>
                <a:lnTo>
                  <a:pt x="2396" y="1337"/>
                </a:lnTo>
                <a:lnTo>
                  <a:pt x="2393" y="1338"/>
                </a:lnTo>
                <a:lnTo>
                  <a:pt x="2391" y="1340"/>
                </a:lnTo>
                <a:lnTo>
                  <a:pt x="2390" y="1341"/>
                </a:lnTo>
                <a:lnTo>
                  <a:pt x="2388" y="1341"/>
                </a:lnTo>
                <a:lnTo>
                  <a:pt x="2386" y="1343"/>
                </a:lnTo>
                <a:lnTo>
                  <a:pt x="2384" y="1344"/>
                </a:lnTo>
                <a:lnTo>
                  <a:pt x="2382" y="1346"/>
                </a:lnTo>
                <a:lnTo>
                  <a:pt x="2379" y="1348"/>
                </a:lnTo>
                <a:lnTo>
                  <a:pt x="2376" y="1349"/>
                </a:lnTo>
                <a:lnTo>
                  <a:pt x="2375" y="1350"/>
                </a:lnTo>
                <a:lnTo>
                  <a:pt x="2373" y="1351"/>
                </a:lnTo>
                <a:lnTo>
                  <a:pt x="2368" y="1352"/>
                </a:lnTo>
                <a:lnTo>
                  <a:pt x="2365" y="1354"/>
                </a:lnTo>
                <a:lnTo>
                  <a:pt x="2362" y="1355"/>
                </a:lnTo>
                <a:lnTo>
                  <a:pt x="2361" y="1356"/>
                </a:lnTo>
                <a:lnTo>
                  <a:pt x="2356" y="1357"/>
                </a:lnTo>
                <a:lnTo>
                  <a:pt x="2351" y="1360"/>
                </a:lnTo>
                <a:lnTo>
                  <a:pt x="2350" y="1360"/>
                </a:lnTo>
                <a:lnTo>
                  <a:pt x="2347" y="1361"/>
                </a:lnTo>
                <a:lnTo>
                  <a:pt x="2346" y="1361"/>
                </a:lnTo>
                <a:lnTo>
                  <a:pt x="2345" y="1362"/>
                </a:lnTo>
                <a:lnTo>
                  <a:pt x="2342" y="1362"/>
                </a:lnTo>
                <a:lnTo>
                  <a:pt x="2338" y="1363"/>
                </a:lnTo>
                <a:lnTo>
                  <a:pt x="2336" y="1365"/>
                </a:lnTo>
                <a:lnTo>
                  <a:pt x="2334" y="1365"/>
                </a:lnTo>
                <a:lnTo>
                  <a:pt x="2329" y="1366"/>
                </a:lnTo>
                <a:lnTo>
                  <a:pt x="2306" y="1370"/>
                </a:lnTo>
                <a:lnTo>
                  <a:pt x="2299" y="1370"/>
                </a:lnTo>
                <a:lnTo>
                  <a:pt x="2294" y="1371"/>
                </a:lnTo>
                <a:lnTo>
                  <a:pt x="2287" y="1371"/>
                </a:lnTo>
                <a:lnTo>
                  <a:pt x="2281" y="1371"/>
                </a:lnTo>
                <a:lnTo>
                  <a:pt x="2276" y="1370"/>
                </a:lnTo>
                <a:lnTo>
                  <a:pt x="2263" y="1370"/>
                </a:lnTo>
                <a:lnTo>
                  <a:pt x="2259" y="1368"/>
                </a:lnTo>
                <a:lnTo>
                  <a:pt x="2254" y="1368"/>
                </a:lnTo>
                <a:lnTo>
                  <a:pt x="2252" y="1367"/>
                </a:lnTo>
                <a:lnTo>
                  <a:pt x="2248" y="1367"/>
                </a:lnTo>
                <a:lnTo>
                  <a:pt x="2246" y="1366"/>
                </a:lnTo>
                <a:lnTo>
                  <a:pt x="2243" y="1366"/>
                </a:lnTo>
                <a:lnTo>
                  <a:pt x="2236" y="1365"/>
                </a:lnTo>
                <a:lnTo>
                  <a:pt x="2230" y="1362"/>
                </a:lnTo>
                <a:lnTo>
                  <a:pt x="2229" y="1362"/>
                </a:lnTo>
                <a:lnTo>
                  <a:pt x="2226" y="1361"/>
                </a:lnTo>
                <a:lnTo>
                  <a:pt x="2223" y="1360"/>
                </a:lnTo>
                <a:lnTo>
                  <a:pt x="2218" y="1359"/>
                </a:lnTo>
                <a:lnTo>
                  <a:pt x="2216" y="1357"/>
                </a:lnTo>
                <a:lnTo>
                  <a:pt x="2213" y="1356"/>
                </a:lnTo>
                <a:lnTo>
                  <a:pt x="2210" y="1354"/>
                </a:lnTo>
                <a:lnTo>
                  <a:pt x="2207" y="1352"/>
                </a:lnTo>
                <a:lnTo>
                  <a:pt x="2205" y="1351"/>
                </a:lnTo>
                <a:lnTo>
                  <a:pt x="2202" y="1351"/>
                </a:lnTo>
                <a:lnTo>
                  <a:pt x="2200" y="1350"/>
                </a:lnTo>
                <a:lnTo>
                  <a:pt x="2197" y="1349"/>
                </a:lnTo>
                <a:lnTo>
                  <a:pt x="2196" y="1346"/>
                </a:lnTo>
                <a:lnTo>
                  <a:pt x="2194" y="1346"/>
                </a:lnTo>
                <a:lnTo>
                  <a:pt x="2190" y="1344"/>
                </a:lnTo>
                <a:lnTo>
                  <a:pt x="2189" y="1343"/>
                </a:lnTo>
                <a:lnTo>
                  <a:pt x="2187" y="1341"/>
                </a:lnTo>
                <a:lnTo>
                  <a:pt x="2185" y="1340"/>
                </a:lnTo>
                <a:lnTo>
                  <a:pt x="2184" y="1339"/>
                </a:lnTo>
                <a:lnTo>
                  <a:pt x="2183" y="1338"/>
                </a:lnTo>
                <a:lnTo>
                  <a:pt x="2181" y="1337"/>
                </a:lnTo>
                <a:lnTo>
                  <a:pt x="2178" y="1335"/>
                </a:lnTo>
                <a:lnTo>
                  <a:pt x="2177" y="1334"/>
                </a:lnTo>
                <a:lnTo>
                  <a:pt x="2174" y="1332"/>
                </a:lnTo>
                <a:lnTo>
                  <a:pt x="2172" y="1329"/>
                </a:lnTo>
                <a:lnTo>
                  <a:pt x="2168" y="1327"/>
                </a:lnTo>
                <a:lnTo>
                  <a:pt x="2166" y="1323"/>
                </a:lnTo>
                <a:lnTo>
                  <a:pt x="2164" y="1322"/>
                </a:lnTo>
                <a:lnTo>
                  <a:pt x="2161" y="1321"/>
                </a:lnTo>
                <a:close/>
                <a:moveTo>
                  <a:pt x="212" y="970"/>
                </a:moveTo>
                <a:lnTo>
                  <a:pt x="214" y="1019"/>
                </a:lnTo>
                <a:lnTo>
                  <a:pt x="214" y="1027"/>
                </a:lnTo>
                <a:lnTo>
                  <a:pt x="215" y="1029"/>
                </a:lnTo>
                <a:lnTo>
                  <a:pt x="215" y="1034"/>
                </a:lnTo>
                <a:lnTo>
                  <a:pt x="214" y="1041"/>
                </a:lnTo>
                <a:lnTo>
                  <a:pt x="214" y="1044"/>
                </a:lnTo>
                <a:lnTo>
                  <a:pt x="213" y="1045"/>
                </a:lnTo>
                <a:lnTo>
                  <a:pt x="210" y="1047"/>
                </a:lnTo>
                <a:lnTo>
                  <a:pt x="205" y="1050"/>
                </a:lnTo>
                <a:lnTo>
                  <a:pt x="202" y="1051"/>
                </a:lnTo>
                <a:lnTo>
                  <a:pt x="197" y="1051"/>
                </a:lnTo>
                <a:lnTo>
                  <a:pt x="195" y="1051"/>
                </a:lnTo>
                <a:lnTo>
                  <a:pt x="192" y="1050"/>
                </a:lnTo>
                <a:lnTo>
                  <a:pt x="191" y="1049"/>
                </a:lnTo>
                <a:lnTo>
                  <a:pt x="189" y="1047"/>
                </a:lnTo>
                <a:lnTo>
                  <a:pt x="186" y="1044"/>
                </a:lnTo>
                <a:lnTo>
                  <a:pt x="184" y="1034"/>
                </a:lnTo>
                <a:lnTo>
                  <a:pt x="183" y="1031"/>
                </a:lnTo>
                <a:lnTo>
                  <a:pt x="181" y="1028"/>
                </a:lnTo>
                <a:lnTo>
                  <a:pt x="179" y="1022"/>
                </a:lnTo>
                <a:lnTo>
                  <a:pt x="178" y="1019"/>
                </a:lnTo>
                <a:lnTo>
                  <a:pt x="178" y="1017"/>
                </a:lnTo>
                <a:lnTo>
                  <a:pt x="176" y="1016"/>
                </a:lnTo>
                <a:lnTo>
                  <a:pt x="176" y="1014"/>
                </a:lnTo>
                <a:lnTo>
                  <a:pt x="174" y="1007"/>
                </a:lnTo>
                <a:lnTo>
                  <a:pt x="173" y="1005"/>
                </a:lnTo>
                <a:lnTo>
                  <a:pt x="172" y="1002"/>
                </a:lnTo>
                <a:lnTo>
                  <a:pt x="170" y="1001"/>
                </a:lnTo>
                <a:lnTo>
                  <a:pt x="168" y="999"/>
                </a:lnTo>
                <a:lnTo>
                  <a:pt x="164" y="996"/>
                </a:lnTo>
                <a:lnTo>
                  <a:pt x="161" y="995"/>
                </a:lnTo>
                <a:lnTo>
                  <a:pt x="152" y="991"/>
                </a:lnTo>
                <a:lnTo>
                  <a:pt x="143" y="989"/>
                </a:lnTo>
                <a:lnTo>
                  <a:pt x="133" y="988"/>
                </a:lnTo>
                <a:lnTo>
                  <a:pt x="123" y="988"/>
                </a:lnTo>
                <a:lnTo>
                  <a:pt x="114" y="989"/>
                </a:lnTo>
                <a:lnTo>
                  <a:pt x="109" y="989"/>
                </a:lnTo>
                <a:lnTo>
                  <a:pt x="104" y="990"/>
                </a:lnTo>
                <a:lnTo>
                  <a:pt x="99" y="991"/>
                </a:lnTo>
                <a:lnTo>
                  <a:pt x="95" y="992"/>
                </a:lnTo>
                <a:lnTo>
                  <a:pt x="91" y="994"/>
                </a:lnTo>
                <a:lnTo>
                  <a:pt x="87" y="996"/>
                </a:lnTo>
                <a:lnTo>
                  <a:pt x="85" y="997"/>
                </a:lnTo>
                <a:lnTo>
                  <a:pt x="81" y="999"/>
                </a:lnTo>
                <a:lnTo>
                  <a:pt x="79" y="1000"/>
                </a:lnTo>
                <a:lnTo>
                  <a:pt x="77" y="1002"/>
                </a:lnTo>
                <a:lnTo>
                  <a:pt x="75" y="1003"/>
                </a:lnTo>
                <a:lnTo>
                  <a:pt x="74" y="1005"/>
                </a:lnTo>
                <a:lnTo>
                  <a:pt x="71" y="1006"/>
                </a:lnTo>
                <a:lnTo>
                  <a:pt x="69" y="1008"/>
                </a:lnTo>
                <a:lnTo>
                  <a:pt x="68" y="1011"/>
                </a:lnTo>
                <a:lnTo>
                  <a:pt x="65" y="1013"/>
                </a:lnTo>
                <a:lnTo>
                  <a:pt x="64" y="1014"/>
                </a:lnTo>
                <a:lnTo>
                  <a:pt x="63" y="1016"/>
                </a:lnTo>
                <a:lnTo>
                  <a:pt x="62" y="1018"/>
                </a:lnTo>
                <a:lnTo>
                  <a:pt x="60" y="1020"/>
                </a:lnTo>
                <a:lnTo>
                  <a:pt x="59" y="1024"/>
                </a:lnTo>
                <a:lnTo>
                  <a:pt x="58" y="1027"/>
                </a:lnTo>
                <a:lnTo>
                  <a:pt x="57" y="1028"/>
                </a:lnTo>
                <a:lnTo>
                  <a:pt x="57" y="1029"/>
                </a:lnTo>
                <a:lnTo>
                  <a:pt x="56" y="1031"/>
                </a:lnTo>
                <a:lnTo>
                  <a:pt x="56" y="1034"/>
                </a:lnTo>
                <a:lnTo>
                  <a:pt x="54" y="1036"/>
                </a:lnTo>
                <a:lnTo>
                  <a:pt x="54" y="1040"/>
                </a:lnTo>
                <a:lnTo>
                  <a:pt x="54" y="1046"/>
                </a:lnTo>
                <a:lnTo>
                  <a:pt x="53" y="1053"/>
                </a:lnTo>
                <a:lnTo>
                  <a:pt x="54" y="1058"/>
                </a:lnTo>
                <a:lnTo>
                  <a:pt x="54" y="1062"/>
                </a:lnTo>
                <a:lnTo>
                  <a:pt x="54" y="1064"/>
                </a:lnTo>
                <a:lnTo>
                  <a:pt x="56" y="1067"/>
                </a:lnTo>
                <a:lnTo>
                  <a:pt x="56" y="1069"/>
                </a:lnTo>
                <a:lnTo>
                  <a:pt x="57" y="1072"/>
                </a:lnTo>
                <a:lnTo>
                  <a:pt x="58" y="1074"/>
                </a:lnTo>
                <a:lnTo>
                  <a:pt x="59" y="1077"/>
                </a:lnTo>
                <a:lnTo>
                  <a:pt x="62" y="1081"/>
                </a:lnTo>
                <a:lnTo>
                  <a:pt x="63" y="1083"/>
                </a:lnTo>
                <a:lnTo>
                  <a:pt x="64" y="1085"/>
                </a:lnTo>
                <a:lnTo>
                  <a:pt x="66" y="1086"/>
                </a:lnTo>
                <a:lnTo>
                  <a:pt x="69" y="1089"/>
                </a:lnTo>
                <a:lnTo>
                  <a:pt x="74" y="1095"/>
                </a:lnTo>
                <a:lnTo>
                  <a:pt x="80" y="1101"/>
                </a:lnTo>
                <a:lnTo>
                  <a:pt x="82" y="1103"/>
                </a:lnTo>
                <a:lnTo>
                  <a:pt x="85" y="1106"/>
                </a:lnTo>
                <a:lnTo>
                  <a:pt x="87" y="1107"/>
                </a:lnTo>
                <a:lnTo>
                  <a:pt x="89" y="1110"/>
                </a:lnTo>
                <a:lnTo>
                  <a:pt x="92" y="1111"/>
                </a:lnTo>
                <a:lnTo>
                  <a:pt x="93" y="1112"/>
                </a:lnTo>
                <a:lnTo>
                  <a:pt x="95" y="1113"/>
                </a:lnTo>
                <a:lnTo>
                  <a:pt x="97" y="1114"/>
                </a:lnTo>
                <a:lnTo>
                  <a:pt x="98" y="1116"/>
                </a:lnTo>
                <a:lnTo>
                  <a:pt x="100" y="1117"/>
                </a:lnTo>
                <a:lnTo>
                  <a:pt x="103" y="1117"/>
                </a:lnTo>
                <a:lnTo>
                  <a:pt x="104" y="1118"/>
                </a:lnTo>
                <a:lnTo>
                  <a:pt x="106" y="1119"/>
                </a:lnTo>
                <a:lnTo>
                  <a:pt x="108" y="1121"/>
                </a:lnTo>
                <a:lnTo>
                  <a:pt x="110" y="1122"/>
                </a:lnTo>
                <a:lnTo>
                  <a:pt x="114" y="1124"/>
                </a:lnTo>
                <a:lnTo>
                  <a:pt x="118" y="1127"/>
                </a:lnTo>
                <a:lnTo>
                  <a:pt x="122" y="1129"/>
                </a:lnTo>
                <a:lnTo>
                  <a:pt x="124" y="1130"/>
                </a:lnTo>
                <a:lnTo>
                  <a:pt x="127" y="1132"/>
                </a:lnTo>
                <a:lnTo>
                  <a:pt x="128" y="1133"/>
                </a:lnTo>
                <a:lnTo>
                  <a:pt x="131" y="1133"/>
                </a:lnTo>
                <a:lnTo>
                  <a:pt x="133" y="1134"/>
                </a:lnTo>
                <a:lnTo>
                  <a:pt x="134" y="1135"/>
                </a:lnTo>
                <a:lnTo>
                  <a:pt x="137" y="1136"/>
                </a:lnTo>
                <a:lnTo>
                  <a:pt x="139" y="1138"/>
                </a:lnTo>
                <a:lnTo>
                  <a:pt x="141" y="1139"/>
                </a:lnTo>
                <a:lnTo>
                  <a:pt x="143" y="1141"/>
                </a:lnTo>
                <a:lnTo>
                  <a:pt x="145" y="1141"/>
                </a:lnTo>
                <a:lnTo>
                  <a:pt x="146" y="1144"/>
                </a:lnTo>
                <a:lnTo>
                  <a:pt x="150" y="1145"/>
                </a:lnTo>
                <a:lnTo>
                  <a:pt x="154" y="1146"/>
                </a:lnTo>
                <a:lnTo>
                  <a:pt x="156" y="1147"/>
                </a:lnTo>
                <a:lnTo>
                  <a:pt x="158" y="1150"/>
                </a:lnTo>
                <a:lnTo>
                  <a:pt x="162" y="1151"/>
                </a:lnTo>
                <a:lnTo>
                  <a:pt x="163" y="1152"/>
                </a:lnTo>
                <a:lnTo>
                  <a:pt x="167" y="1155"/>
                </a:lnTo>
                <a:lnTo>
                  <a:pt x="168" y="1156"/>
                </a:lnTo>
                <a:lnTo>
                  <a:pt x="170" y="1157"/>
                </a:lnTo>
                <a:lnTo>
                  <a:pt x="172" y="1158"/>
                </a:lnTo>
                <a:lnTo>
                  <a:pt x="173" y="1160"/>
                </a:lnTo>
                <a:lnTo>
                  <a:pt x="175" y="1161"/>
                </a:lnTo>
                <a:lnTo>
                  <a:pt x="176" y="1162"/>
                </a:lnTo>
                <a:lnTo>
                  <a:pt x="178" y="1163"/>
                </a:lnTo>
                <a:lnTo>
                  <a:pt x="180" y="1164"/>
                </a:lnTo>
                <a:lnTo>
                  <a:pt x="183" y="1167"/>
                </a:lnTo>
                <a:lnTo>
                  <a:pt x="185" y="1169"/>
                </a:lnTo>
                <a:lnTo>
                  <a:pt x="189" y="1172"/>
                </a:lnTo>
                <a:lnTo>
                  <a:pt x="193" y="1175"/>
                </a:lnTo>
                <a:lnTo>
                  <a:pt x="199" y="1182"/>
                </a:lnTo>
                <a:lnTo>
                  <a:pt x="203" y="1185"/>
                </a:lnTo>
                <a:lnTo>
                  <a:pt x="207" y="1189"/>
                </a:lnTo>
                <a:lnTo>
                  <a:pt x="209" y="1191"/>
                </a:lnTo>
                <a:lnTo>
                  <a:pt x="212" y="1194"/>
                </a:lnTo>
                <a:lnTo>
                  <a:pt x="213" y="1196"/>
                </a:lnTo>
                <a:lnTo>
                  <a:pt x="214" y="1199"/>
                </a:lnTo>
                <a:lnTo>
                  <a:pt x="214" y="1201"/>
                </a:lnTo>
                <a:lnTo>
                  <a:pt x="216" y="1204"/>
                </a:lnTo>
                <a:lnTo>
                  <a:pt x="218" y="1205"/>
                </a:lnTo>
                <a:lnTo>
                  <a:pt x="219" y="1207"/>
                </a:lnTo>
                <a:lnTo>
                  <a:pt x="220" y="1210"/>
                </a:lnTo>
                <a:lnTo>
                  <a:pt x="221" y="1213"/>
                </a:lnTo>
                <a:lnTo>
                  <a:pt x="227" y="1230"/>
                </a:lnTo>
                <a:lnTo>
                  <a:pt x="227" y="1233"/>
                </a:lnTo>
                <a:lnTo>
                  <a:pt x="228" y="1236"/>
                </a:lnTo>
                <a:lnTo>
                  <a:pt x="228" y="1240"/>
                </a:lnTo>
                <a:lnTo>
                  <a:pt x="228" y="1247"/>
                </a:lnTo>
                <a:lnTo>
                  <a:pt x="230" y="1250"/>
                </a:lnTo>
                <a:lnTo>
                  <a:pt x="230" y="1255"/>
                </a:lnTo>
                <a:lnTo>
                  <a:pt x="230" y="1258"/>
                </a:lnTo>
                <a:lnTo>
                  <a:pt x="228" y="1261"/>
                </a:lnTo>
                <a:lnTo>
                  <a:pt x="228" y="1266"/>
                </a:lnTo>
                <a:lnTo>
                  <a:pt x="228" y="1277"/>
                </a:lnTo>
                <a:lnTo>
                  <a:pt x="227" y="1279"/>
                </a:lnTo>
                <a:lnTo>
                  <a:pt x="227" y="1283"/>
                </a:lnTo>
                <a:lnTo>
                  <a:pt x="226" y="1285"/>
                </a:lnTo>
                <a:lnTo>
                  <a:pt x="226" y="1288"/>
                </a:lnTo>
                <a:lnTo>
                  <a:pt x="225" y="1290"/>
                </a:lnTo>
                <a:lnTo>
                  <a:pt x="225" y="1291"/>
                </a:lnTo>
                <a:lnTo>
                  <a:pt x="224" y="1293"/>
                </a:lnTo>
                <a:lnTo>
                  <a:pt x="224" y="1295"/>
                </a:lnTo>
                <a:lnTo>
                  <a:pt x="222" y="1299"/>
                </a:lnTo>
                <a:lnTo>
                  <a:pt x="221" y="1301"/>
                </a:lnTo>
                <a:lnTo>
                  <a:pt x="220" y="1304"/>
                </a:lnTo>
                <a:lnTo>
                  <a:pt x="219" y="1306"/>
                </a:lnTo>
                <a:lnTo>
                  <a:pt x="218" y="1308"/>
                </a:lnTo>
                <a:lnTo>
                  <a:pt x="216" y="1311"/>
                </a:lnTo>
                <a:lnTo>
                  <a:pt x="214" y="1316"/>
                </a:lnTo>
                <a:lnTo>
                  <a:pt x="213" y="1317"/>
                </a:lnTo>
                <a:lnTo>
                  <a:pt x="212" y="1319"/>
                </a:lnTo>
                <a:lnTo>
                  <a:pt x="210" y="1321"/>
                </a:lnTo>
                <a:lnTo>
                  <a:pt x="209" y="1322"/>
                </a:lnTo>
                <a:lnTo>
                  <a:pt x="208" y="1323"/>
                </a:lnTo>
                <a:lnTo>
                  <a:pt x="205" y="1326"/>
                </a:lnTo>
                <a:lnTo>
                  <a:pt x="202" y="1330"/>
                </a:lnTo>
                <a:lnTo>
                  <a:pt x="197" y="1337"/>
                </a:lnTo>
                <a:lnTo>
                  <a:pt x="196" y="1338"/>
                </a:lnTo>
                <a:lnTo>
                  <a:pt x="191" y="1341"/>
                </a:lnTo>
                <a:lnTo>
                  <a:pt x="190" y="1343"/>
                </a:lnTo>
                <a:lnTo>
                  <a:pt x="187" y="1344"/>
                </a:lnTo>
                <a:lnTo>
                  <a:pt x="186" y="1345"/>
                </a:lnTo>
                <a:lnTo>
                  <a:pt x="185" y="1346"/>
                </a:lnTo>
                <a:lnTo>
                  <a:pt x="184" y="1348"/>
                </a:lnTo>
                <a:lnTo>
                  <a:pt x="180" y="1349"/>
                </a:lnTo>
                <a:lnTo>
                  <a:pt x="179" y="1350"/>
                </a:lnTo>
                <a:lnTo>
                  <a:pt x="176" y="1351"/>
                </a:lnTo>
                <a:lnTo>
                  <a:pt x="174" y="1352"/>
                </a:lnTo>
                <a:lnTo>
                  <a:pt x="173" y="1354"/>
                </a:lnTo>
                <a:lnTo>
                  <a:pt x="169" y="1355"/>
                </a:lnTo>
                <a:lnTo>
                  <a:pt x="168" y="1356"/>
                </a:lnTo>
                <a:lnTo>
                  <a:pt x="164" y="1357"/>
                </a:lnTo>
                <a:lnTo>
                  <a:pt x="145" y="1365"/>
                </a:lnTo>
                <a:lnTo>
                  <a:pt x="121" y="1370"/>
                </a:lnTo>
                <a:lnTo>
                  <a:pt x="108" y="1370"/>
                </a:lnTo>
                <a:lnTo>
                  <a:pt x="102" y="1371"/>
                </a:lnTo>
                <a:lnTo>
                  <a:pt x="94" y="1371"/>
                </a:lnTo>
                <a:lnTo>
                  <a:pt x="86" y="1371"/>
                </a:lnTo>
                <a:lnTo>
                  <a:pt x="81" y="1370"/>
                </a:lnTo>
                <a:lnTo>
                  <a:pt x="74" y="1370"/>
                </a:lnTo>
                <a:lnTo>
                  <a:pt x="68" y="1370"/>
                </a:lnTo>
                <a:lnTo>
                  <a:pt x="53" y="1367"/>
                </a:lnTo>
                <a:lnTo>
                  <a:pt x="50" y="1366"/>
                </a:lnTo>
                <a:lnTo>
                  <a:pt x="47" y="1366"/>
                </a:lnTo>
                <a:lnTo>
                  <a:pt x="45" y="1366"/>
                </a:lnTo>
                <a:lnTo>
                  <a:pt x="42" y="1365"/>
                </a:lnTo>
                <a:lnTo>
                  <a:pt x="40" y="1365"/>
                </a:lnTo>
                <a:lnTo>
                  <a:pt x="39" y="1363"/>
                </a:lnTo>
                <a:lnTo>
                  <a:pt x="36" y="1363"/>
                </a:lnTo>
                <a:lnTo>
                  <a:pt x="34" y="1362"/>
                </a:lnTo>
                <a:lnTo>
                  <a:pt x="12" y="1354"/>
                </a:lnTo>
                <a:lnTo>
                  <a:pt x="11" y="1337"/>
                </a:lnTo>
                <a:lnTo>
                  <a:pt x="10" y="1334"/>
                </a:lnTo>
                <a:lnTo>
                  <a:pt x="7" y="1323"/>
                </a:lnTo>
                <a:lnTo>
                  <a:pt x="7" y="1316"/>
                </a:lnTo>
                <a:lnTo>
                  <a:pt x="5" y="1310"/>
                </a:lnTo>
                <a:lnTo>
                  <a:pt x="4" y="1302"/>
                </a:lnTo>
                <a:lnTo>
                  <a:pt x="4" y="1295"/>
                </a:lnTo>
                <a:lnTo>
                  <a:pt x="1" y="1288"/>
                </a:lnTo>
                <a:lnTo>
                  <a:pt x="1" y="1280"/>
                </a:lnTo>
                <a:lnTo>
                  <a:pt x="0" y="1276"/>
                </a:lnTo>
                <a:lnTo>
                  <a:pt x="0" y="1273"/>
                </a:lnTo>
                <a:lnTo>
                  <a:pt x="1" y="1271"/>
                </a:lnTo>
                <a:lnTo>
                  <a:pt x="1" y="1268"/>
                </a:lnTo>
                <a:lnTo>
                  <a:pt x="2" y="1267"/>
                </a:lnTo>
                <a:lnTo>
                  <a:pt x="6" y="1263"/>
                </a:lnTo>
                <a:lnTo>
                  <a:pt x="7" y="1262"/>
                </a:lnTo>
                <a:lnTo>
                  <a:pt x="10" y="1261"/>
                </a:lnTo>
                <a:lnTo>
                  <a:pt x="12" y="1260"/>
                </a:lnTo>
                <a:lnTo>
                  <a:pt x="16" y="1260"/>
                </a:lnTo>
                <a:lnTo>
                  <a:pt x="19" y="1260"/>
                </a:lnTo>
                <a:lnTo>
                  <a:pt x="24" y="1262"/>
                </a:lnTo>
                <a:lnTo>
                  <a:pt x="27" y="1265"/>
                </a:lnTo>
                <a:lnTo>
                  <a:pt x="28" y="1266"/>
                </a:lnTo>
                <a:lnTo>
                  <a:pt x="29" y="1268"/>
                </a:lnTo>
                <a:lnTo>
                  <a:pt x="30" y="1271"/>
                </a:lnTo>
                <a:lnTo>
                  <a:pt x="31" y="1273"/>
                </a:lnTo>
                <a:lnTo>
                  <a:pt x="33" y="1276"/>
                </a:lnTo>
                <a:lnTo>
                  <a:pt x="34" y="1278"/>
                </a:lnTo>
                <a:lnTo>
                  <a:pt x="35" y="1280"/>
                </a:lnTo>
                <a:lnTo>
                  <a:pt x="36" y="1284"/>
                </a:lnTo>
                <a:lnTo>
                  <a:pt x="37" y="1287"/>
                </a:lnTo>
                <a:lnTo>
                  <a:pt x="39" y="1288"/>
                </a:lnTo>
                <a:lnTo>
                  <a:pt x="40" y="1290"/>
                </a:lnTo>
                <a:lnTo>
                  <a:pt x="40" y="1293"/>
                </a:lnTo>
                <a:lnTo>
                  <a:pt x="41" y="1294"/>
                </a:lnTo>
                <a:lnTo>
                  <a:pt x="41" y="1296"/>
                </a:lnTo>
                <a:lnTo>
                  <a:pt x="44" y="1300"/>
                </a:lnTo>
                <a:lnTo>
                  <a:pt x="44" y="1302"/>
                </a:lnTo>
                <a:lnTo>
                  <a:pt x="46" y="1306"/>
                </a:lnTo>
                <a:lnTo>
                  <a:pt x="47" y="1307"/>
                </a:lnTo>
                <a:lnTo>
                  <a:pt x="48" y="1310"/>
                </a:lnTo>
                <a:lnTo>
                  <a:pt x="50" y="1312"/>
                </a:lnTo>
                <a:lnTo>
                  <a:pt x="51" y="1316"/>
                </a:lnTo>
                <a:lnTo>
                  <a:pt x="52" y="1317"/>
                </a:lnTo>
                <a:lnTo>
                  <a:pt x="53" y="1319"/>
                </a:lnTo>
                <a:lnTo>
                  <a:pt x="54" y="1321"/>
                </a:lnTo>
                <a:lnTo>
                  <a:pt x="56" y="1322"/>
                </a:lnTo>
                <a:lnTo>
                  <a:pt x="59" y="1326"/>
                </a:lnTo>
                <a:lnTo>
                  <a:pt x="62" y="1328"/>
                </a:lnTo>
                <a:lnTo>
                  <a:pt x="64" y="1329"/>
                </a:lnTo>
                <a:lnTo>
                  <a:pt x="65" y="1330"/>
                </a:lnTo>
                <a:lnTo>
                  <a:pt x="68" y="1330"/>
                </a:lnTo>
                <a:lnTo>
                  <a:pt x="70" y="1332"/>
                </a:lnTo>
                <a:lnTo>
                  <a:pt x="71" y="1333"/>
                </a:lnTo>
                <a:lnTo>
                  <a:pt x="79" y="1335"/>
                </a:lnTo>
                <a:lnTo>
                  <a:pt x="83" y="1337"/>
                </a:lnTo>
                <a:lnTo>
                  <a:pt x="89" y="1337"/>
                </a:lnTo>
                <a:lnTo>
                  <a:pt x="102" y="1337"/>
                </a:lnTo>
                <a:lnTo>
                  <a:pt x="110" y="1337"/>
                </a:lnTo>
                <a:lnTo>
                  <a:pt x="114" y="1337"/>
                </a:lnTo>
                <a:lnTo>
                  <a:pt x="117" y="1337"/>
                </a:lnTo>
                <a:lnTo>
                  <a:pt x="122" y="1337"/>
                </a:lnTo>
                <a:lnTo>
                  <a:pt x="128" y="1335"/>
                </a:lnTo>
                <a:lnTo>
                  <a:pt x="131" y="1334"/>
                </a:lnTo>
                <a:lnTo>
                  <a:pt x="133" y="1334"/>
                </a:lnTo>
                <a:lnTo>
                  <a:pt x="135" y="1333"/>
                </a:lnTo>
                <a:lnTo>
                  <a:pt x="137" y="1333"/>
                </a:lnTo>
                <a:lnTo>
                  <a:pt x="139" y="1332"/>
                </a:lnTo>
                <a:lnTo>
                  <a:pt x="141" y="1330"/>
                </a:lnTo>
                <a:lnTo>
                  <a:pt x="145" y="1329"/>
                </a:lnTo>
                <a:lnTo>
                  <a:pt x="149" y="1328"/>
                </a:lnTo>
                <a:lnTo>
                  <a:pt x="151" y="1327"/>
                </a:lnTo>
                <a:lnTo>
                  <a:pt x="154" y="1326"/>
                </a:lnTo>
                <a:lnTo>
                  <a:pt x="155" y="1324"/>
                </a:lnTo>
                <a:lnTo>
                  <a:pt x="156" y="1322"/>
                </a:lnTo>
                <a:lnTo>
                  <a:pt x="158" y="1321"/>
                </a:lnTo>
                <a:lnTo>
                  <a:pt x="162" y="1318"/>
                </a:lnTo>
                <a:lnTo>
                  <a:pt x="169" y="1312"/>
                </a:lnTo>
                <a:lnTo>
                  <a:pt x="173" y="1307"/>
                </a:lnTo>
                <a:lnTo>
                  <a:pt x="175" y="1304"/>
                </a:lnTo>
                <a:lnTo>
                  <a:pt x="180" y="1294"/>
                </a:lnTo>
                <a:lnTo>
                  <a:pt x="184" y="1284"/>
                </a:lnTo>
                <a:lnTo>
                  <a:pt x="184" y="1280"/>
                </a:lnTo>
                <a:lnTo>
                  <a:pt x="185" y="1278"/>
                </a:lnTo>
                <a:lnTo>
                  <a:pt x="185" y="1274"/>
                </a:lnTo>
                <a:lnTo>
                  <a:pt x="186" y="1268"/>
                </a:lnTo>
                <a:lnTo>
                  <a:pt x="186" y="1262"/>
                </a:lnTo>
                <a:lnTo>
                  <a:pt x="185" y="1256"/>
                </a:lnTo>
                <a:lnTo>
                  <a:pt x="185" y="1251"/>
                </a:lnTo>
                <a:lnTo>
                  <a:pt x="185" y="1249"/>
                </a:lnTo>
                <a:lnTo>
                  <a:pt x="181" y="1238"/>
                </a:lnTo>
                <a:lnTo>
                  <a:pt x="180" y="1235"/>
                </a:lnTo>
                <a:lnTo>
                  <a:pt x="179" y="1234"/>
                </a:lnTo>
                <a:lnTo>
                  <a:pt x="178" y="1232"/>
                </a:lnTo>
                <a:lnTo>
                  <a:pt x="176" y="1229"/>
                </a:lnTo>
                <a:lnTo>
                  <a:pt x="175" y="1228"/>
                </a:lnTo>
                <a:lnTo>
                  <a:pt x="174" y="1225"/>
                </a:lnTo>
                <a:lnTo>
                  <a:pt x="172" y="1224"/>
                </a:lnTo>
                <a:lnTo>
                  <a:pt x="170" y="1222"/>
                </a:lnTo>
                <a:lnTo>
                  <a:pt x="166" y="1217"/>
                </a:lnTo>
                <a:lnTo>
                  <a:pt x="161" y="1212"/>
                </a:lnTo>
                <a:lnTo>
                  <a:pt x="157" y="1208"/>
                </a:lnTo>
                <a:lnTo>
                  <a:pt x="155" y="1206"/>
                </a:lnTo>
                <a:lnTo>
                  <a:pt x="152" y="1205"/>
                </a:lnTo>
                <a:lnTo>
                  <a:pt x="151" y="1204"/>
                </a:lnTo>
                <a:lnTo>
                  <a:pt x="149" y="1202"/>
                </a:lnTo>
                <a:lnTo>
                  <a:pt x="146" y="1201"/>
                </a:lnTo>
                <a:lnTo>
                  <a:pt x="145" y="1200"/>
                </a:lnTo>
                <a:lnTo>
                  <a:pt x="143" y="1199"/>
                </a:lnTo>
                <a:lnTo>
                  <a:pt x="141" y="1197"/>
                </a:lnTo>
                <a:lnTo>
                  <a:pt x="139" y="1196"/>
                </a:lnTo>
                <a:lnTo>
                  <a:pt x="138" y="1195"/>
                </a:lnTo>
                <a:lnTo>
                  <a:pt x="134" y="1194"/>
                </a:lnTo>
                <a:lnTo>
                  <a:pt x="132" y="1191"/>
                </a:lnTo>
                <a:lnTo>
                  <a:pt x="127" y="1190"/>
                </a:lnTo>
                <a:lnTo>
                  <a:pt x="123" y="1188"/>
                </a:lnTo>
                <a:lnTo>
                  <a:pt x="122" y="1186"/>
                </a:lnTo>
                <a:lnTo>
                  <a:pt x="120" y="1185"/>
                </a:lnTo>
                <a:lnTo>
                  <a:pt x="117" y="1183"/>
                </a:lnTo>
                <a:lnTo>
                  <a:pt x="115" y="1183"/>
                </a:lnTo>
                <a:lnTo>
                  <a:pt x="112" y="1182"/>
                </a:lnTo>
                <a:lnTo>
                  <a:pt x="111" y="1180"/>
                </a:lnTo>
                <a:lnTo>
                  <a:pt x="109" y="1179"/>
                </a:lnTo>
                <a:lnTo>
                  <a:pt x="106" y="1178"/>
                </a:lnTo>
                <a:lnTo>
                  <a:pt x="104" y="1177"/>
                </a:lnTo>
                <a:lnTo>
                  <a:pt x="103" y="1175"/>
                </a:lnTo>
                <a:lnTo>
                  <a:pt x="100" y="1174"/>
                </a:lnTo>
                <a:lnTo>
                  <a:pt x="97" y="1173"/>
                </a:lnTo>
                <a:lnTo>
                  <a:pt x="95" y="1172"/>
                </a:lnTo>
                <a:lnTo>
                  <a:pt x="93" y="1171"/>
                </a:lnTo>
                <a:lnTo>
                  <a:pt x="91" y="1168"/>
                </a:lnTo>
                <a:lnTo>
                  <a:pt x="88" y="1168"/>
                </a:lnTo>
                <a:lnTo>
                  <a:pt x="86" y="1167"/>
                </a:lnTo>
                <a:lnTo>
                  <a:pt x="82" y="1164"/>
                </a:lnTo>
                <a:lnTo>
                  <a:pt x="80" y="1162"/>
                </a:lnTo>
                <a:lnTo>
                  <a:pt x="76" y="1161"/>
                </a:lnTo>
                <a:lnTo>
                  <a:pt x="74" y="1160"/>
                </a:lnTo>
                <a:lnTo>
                  <a:pt x="71" y="1158"/>
                </a:lnTo>
                <a:lnTo>
                  <a:pt x="69" y="1156"/>
                </a:lnTo>
                <a:lnTo>
                  <a:pt x="68" y="1155"/>
                </a:lnTo>
                <a:lnTo>
                  <a:pt x="65" y="1153"/>
                </a:lnTo>
                <a:lnTo>
                  <a:pt x="64" y="1152"/>
                </a:lnTo>
                <a:lnTo>
                  <a:pt x="62" y="1151"/>
                </a:lnTo>
                <a:lnTo>
                  <a:pt x="60" y="1150"/>
                </a:lnTo>
                <a:lnTo>
                  <a:pt x="59" y="1149"/>
                </a:lnTo>
                <a:lnTo>
                  <a:pt x="57" y="1147"/>
                </a:lnTo>
                <a:lnTo>
                  <a:pt x="54" y="1146"/>
                </a:lnTo>
                <a:lnTo>
                  <a:pt x="53" y="1144"/>
                </a:lnTo>
                <a:lnTo>
                  <a:pt x="50" y="1141"/>
                </a:lnTo>
                <a:lnTo>
                  <a:pt x="46" y="1139"/>
                </a:lnTo>
                <a:lnTo>
                  <a:pt x="40" y="1132"/>
                </a:lnTo>
                <a:lnTo>
                  <a:pt x="31" y="1124"/>
                </a:lnTo>
                <a:lnTo>
                  <a:pt x="29" y="1122"/>
                </a:lnTo>
                <a:lnTo>
                  <a:pt x="27" y="1119"/>
                </a:lnTo>
                <a:lnTo>
                  <a:pt x="25" y="1117"/>
                </a:lnTo>
                <a:lnTo>
                  <a:pt x="24" y="1116"/>
                </a:lnTo>
                <a:lnTo>
                  <a:pt x="24" y="1113"/>
                </a:lnTo>
                <a:lnTo>
                  <a:pt x="22" y="1112"/>
                </a:lnTo>
                <a:lnTo>
                  <a:pt x="22" y="1110"/>
                </a:lnTo>
                <a:lnTo>
                  <a:pt x="19" y="1106"/>
                </a:lnTo>
                <a:lnTo>
                  <a:pt x="17" y="1102"/>
                </a:lnTo>
                <a:lnTo>
                  <a:pt x="17" y="1100"/>
                </a:lnTo>
                <a:lnTo>
                  <a:pt x="16" y="1097"/>
                </a:lnTo>
                <a:lnTo>
                  <a:pt x="15" y="1094"/>
                </a:lnTo>
                <a:lnTo>
                  <a:pt x="13" y="1092"/>
                </a:lnTo>
                <a:lnTo>
                  <a:pt x="13" y="1090"/>
                </a:lnTo>
                <a:lnTo>
                  <a:pt x="11" y="1081"/>
                </a:lnTo>
                <a:lnTo>
                  <a:pt x="10" y="1073"/>
                </a:lnTo>
                <a:lnTo>
                  <a:pt x="10" y="1061"/>
                </a:lnTo>
                <a:lnTo>
                  <a:pt x="10" y="1052"/>
                </a:lnTo>
                <a:lnTo>
                  <a:pt x="10" y="1044"/>
                </a:lnTo>
                <a:lnTo>
                  <a:pt x="11" y="1036"/>
                </a:lnTo>
                <a:lnTo>
                  <a:pt x="13" y="1030"/>
                </a:lnTo>
                <a:lnTo>
                  <a:pt x="13" y="1028"/>
                </a:lnTo>
                <a:lnTo>
                  <a:pt x="13" y="1027"/>
                </a:lnTo>
                <a:lnTo>
                  <a:pt x="15" y="1024"/>
                </a:lnTo>
                <a:lnTo>
                  <a:pt x="15" y="1023"/>
                </a:lnTo>
                <a:lnTo>
                  <a:pt x="16" y="1020"/>
                </a:lnTo>
                <a:lnTo>
                  <a:pt x="16" y="1019"/>
                </a:lnTo>
                <a:lnTo>
                  <a:pt x="18" y="1014"/>
                </a:lnTo>
                <a:lnTo>
                  <a:pt x="19" y="1012"/>
                </a:lnTo>
                <a:lnTo>
                  <a:pt x="22" y="1008"/>
                </a:lnTo>
                <a:lnTo>
                  <a:pt x="23" y="1005"/>
                </a:lnTo>
                <a:lnTo>
                  <a:pt x="25" y="1002"/>
                </a:lnTo>
                <a:lnTo>
                  <a:pt x="25" y="1000"/>
                </a:lnTo>
                <a:lnTo>
                  <a:pt x="28" y="1000"/>
                </a:lnTo>
                <a:lnTo>
                  <a:pt x="29" y="997"/>
                </a:lnTo>
                <a:lnTo>
                  <a:pt x="33" y="992"/>
                </a:lnTo>
                <a:lnTo>
                  <a:pt x="37" y="988"/>
                </a:lnTo>
                <a:lnTo>
                  <a:pt x="40" y="985"/>
                </a:lnTo>
                <a:lnTo>
                  <a:pt x="44" y="981"/>
                </a:lnTo>
                <a:lnTo>
                  <a:pt x="46" y="980"/>
                </a:lnTo>
                <a:lnTo>
                  <a:pt x="48" y="978"/>
                </a:lnTo>
                <a:lnTo>
                  <a:pt x="50" y="977"/>
                </a:lnTo>
                <a:lnTo>
                  <a:pt x="52" y="977"/>
                </a:lnTo>
                <a:lnTo>
                  <a:pt x="53" y="974"/>
                </a:lnTo>
                <a:lnTo>
                  <a:pt x="56" y="974"/>
                </a:lnTo>
                <a:lnTo>
                  <a:pt x="57" y="973"/>
                </a:lnTo>
                <a:lnTo>
                  <a:pt x="59" y="972"/>
                </a:lnTo>
                <a:lnTo>
                  <a:pt x="62" y="970"/>
                </a:lnTo>
                <a:lnTo>
                  <a:pt x="64" y="969"/>
                </a:lnTo>
                <a:lnTo>
                  <a:pt x="68" y="968"/>
                </a:lnTo>
                <a:lnTo>
                  <a:pt x="69" y="967"/>
                </a:lnTo>
                <a:lnTo>
                  <a:pt x="74" y="966"/>
                </a:lnTo>
                <a:lnTo>
                  <a:pt x="81" y="963"/>
                </a:lnTo>
                <a:lnTo>
                  <a:pt x="83" y="962"/>
                </a:lnTo>
                <a:lnTo>
                  <a:pt x="85" y="962"/>
                </a:lnTo>
                <a:lnTo>
                  <a:pt x="87" y="961"/>
                </a:lnTo>
                <a:lnTo>
                  <a:pt x="89" y="961"/>
                </a:lnTo>
                <a:lnTo>
                  <a:pt x="92" y="959"/>
                </a:lnTo>
                <a:lnTo>
                  <a:pt x="94" y="959"/>
                </a:lnTo>
                <a:lnTo>
                  <a:pt x="97" y="958"/>
                </a:lnTo>
                <a:lnTo>
                  <a:pt x="99" y="958"/>
                </a:lnTo>
                <a:lnTo>
                  <a:pt x="103" y="957"/>
                </a:lnTo>
                <a:lnTo>
                  <a:pt x="108" y="957"/>
                </a:lnTo>
                <a:lnTo>
                  <a:pt x="112" y="956"/>
                </a:lnTo>
                <a:lnTo>
                  <a:pt x="118" y="956"/>
                </a:lnTo>
                <a:lnTo>
                  <a:pt x="128" y="956"/>
                </a:lnTo>
                <a:lnTo>
                  <a:pt x="134" y="955"/>
                </a:lnTo>
                <a:lnTo>
                  <a:pt x="138" y="955"/>
                </a:lnTo>
                <a:lnTo>
                  <a:pt x="141" y="955"/>
                </a:lnTo>
                <a:lnTo>
                  <a:pt x="151" y="956"/>
                </a:lnTo>
                <a:lnTo>
                  <a:pt x="173" y="958"/>
                </a:lnTo>
                <a:lnTo>
                  <a:pt x="195" y="964"/>
                </a:lnTo>
                <a:lnTo>
                  <a:pt x="212" y="970"/>
                </a:lnTo>
                <a:close/>
                <a:moveTo>
                  <a:pt x="1496" y="671"/>
                </a:moveTo>
                <a:lnTo>
                  <a:pt x="1496" y="474"/>
                </a:lnTo>
                <a:lnTo>
                  <a:pt x="1490" y="474"/>
                </a:lnTo>
                <a:lnTo>
                  <a:pt x="1485" y="475"/>
                </a:lnTo>
                <a:lnTo>
                  <a:pt x="1482" y="475"/>
                </a:lnTo>
                <a:lnTo>
                  <a:pt x="1478" y="476"/>
                </a:lnTo>
                <a:lnTo>
                  <a:pt x="1476" y="476"/>
                </a:lnTo>
                <a:lnTo>
                  <a:pt x="1473" y="477"/>
                </a:lnTo>
                <a:lnTo>
                  <a:pt x="1472" y="477"/>
                </a:lnTo>
                <a:lnTo>
                  <a:pt x="1467" y="479"/>
                </a:lnTo>
                <a:lnTo>
                  <a:pt x="1465" y="480"/>
                </a:lnTo>
                <a:lnTo>
                  <a:pt x="1459" y="483"/>
                </a:lnTo>
                <a:lnTo>
                  <a:pt x="1455" y="485"/>
                </a:lnTo>
                <a:lnTo>
                  <a:pt x="1454" y="486"/>
                </a:lnTo>
                <a:lnTo>
                  <a:pt x="1452" y="487"/>
                </a:lnTo>
                <a:lnTo>
                  <a:pt x="1450" y="488"/>
                </a:lnTo>
                <a:lnTo>
                  <a:pt x="1446" y="493"/>
                </a:lnTo>
                <a:lnTo>
                  <a:pt x="1442" y="497"/>
                </a:lnTo>
                <a:lnTo>
                  <a:pt x="1441" y="499"/>
                </a:lnTo>
                <a:lnTo>
                  <a:pt x="1440" y="501"/>
                </a:lnTo>
                <a:lnTo>
                  <a:pt x="1438" y="502"/>
                </a:lnTo>
                <a:lnTo>
                  <a:pt x="1437" y="504"/>
                </a:lnTo>
                <a:lnTo>
                  <a:pt x="1436" y="507"/>
                </a:lnTo>
                <a:lnTo>
                  <a:pt x="1435" y="510"/>
                </a:lnTo>
                <a:lnTo>
                  <a:pt x="1434" y="513"/>
                </a:lnTo>
                <a:lnTo>
                  <a:pt x="1434" y="514"/>
                </a:lnTo>
                <a:lnTo>
                  <a:pt x="1432" y="516"/>
                </a:lnTo>
                <a:lnTo>
                  <a:pt x="1432" y="518"/>
                </a:lnTo>
                <a:lnTo>
                  <a:pt x="1431" y="523"/>
                </a:lnTo>
                <a:lnTo>
                  <a:pt x="1430" y="529"/>
                </a:lnTo>
                <a:lnTo>
                  <a:pt x="1430" y="534"/>
                </a:lnTo>
                <a:lnTo>
                  <a:pt x="1429" y="538"/>
                </a:lnTo>
                <a:lnTo>
                  <a:pt x="1429" y="546"/>
                </a:lnTo>
                <a:lnTo>
                  <a:pt x="1427" y="554"/>
                </a:lnTo>
                <a:lnTo>
                  <a:pt x="1427" y="557"/>
                </a:lnTo>
                <a:lnTo>
                  <a:pt x="1427" y="562"/>
                </a:lnTo>
                <a:lnTo>
                  <a:pt x="1427" y="569"/>
                </a:lnTo>
                <a:lnTo>
                  <a:pt x="1427" y="598"/>
                </a:lnTo>
                <a:lnTo>
                  <a:pt x="1426" y="615"/>
                </a:lnTo>
                <a:lnTo>
                  <a:pt x="1426" y="634"/>
                </a:lnTo>
                <a:lnTo>
                  <a:pt x="1427" y="642"/>
                </a:lnTo>
                <a:lnTo>
                  <a:pt x="1427" y="651"/>
                </a:lnTo>
                <a:lnTo>
                  <a:pt x="1429" y="658"/>
                </a:lnTo>
                <a:lnTo>
                  <a:pt x="1431" y="664"/>
                </a:lnTo>
                <a:lnTo>
                  <a:pt x="1432" y="668"/>
                </a:lnTo>
                <a:lnTo>
                  <a:pt x="1432" y="670"/>
                </a:lnTo>
                <a:lnTo>
                  <a:pt x="1435" y="671"/>
                </a:lnTo>
                <a:lnTo>
                  <a:pt x="1436" y="674"/>
                </a:lnTo>
                <a:lnTo>
                  <a:pt x="1438" y="678"/>
                </a:lnTo>
                <a:lnTo>
                  <a:pt x="1442" y="679"/>
                </a:lnTo>
                <a:lnTo>
                  <a:pt x="1446" y="681"/>
                </a:lnTo>
                <a:lnTo>
                  <a:pt x="1450" y="682"/>
                </a:lnTo>
                <a:lnTo>
                  <a:pt x="1455" y="684"/>
                </a:lnTo>
                <a:lnTo>
                  <a:pt x="1460" y="684"/>
                </a:lnTo>
                <a:lnTo>
                  <a:pt x="1465" y="684"/>
                </a:lnTo>
                <a:lnTo>
                  <a:pt x="1470" y="684"/>
                </a:lnTo>
                <a:lnTo>
                  <a:pt x="1475" y="682"/>
                </a:lnTo>
                <a:lnTo>
                  <a:pt x="1479" y="681"/>
                </a:lnTo>
                <a:lnTo>
                  <a:pt x="1482" y="680"/>
                </a:lnTo>
                <a:lnTo>
                  <a:pt x="1488" y="678"/>
                </a:lnTo>
                <a:lnTo>
                  <a:pt x="1490" y="676"/>
                </a:lnTo>
                <a:lnTo>
                  <a:pt x="1492" y="675"/>
                </a:lnTo>
                <a:lnTo>
                  <a:pt x="1494" y="674"/>
                </a:lnTo>
                <a:lnTo>
                  <a:pt x="1495" y="671"/>
                </a:lnTo>
                <a:lnTo>
                  <a:pt x="1496" y="671"/>
                </a:lnTo>
                <a:close/>
                <a:moveTo>
                  <a:pt x="3013" y="429"/>
                </a:moveTo>
                <a:lnTo>
                  <a:pt x="3013" y="659"/>
                </a:lnTo>
                <a:lnTo>
                  <a:pt x="3036" y="659"/>
                </a:lnTo>
                <a:lnTo>
                  <a:pt x="3047" y="659"/>
                </a:lnTo>
                <a:lnTo>
                  <a:pt x="3053" y="658"/>
                </a:lnTo>
                <a:lnTo>
                  <a:pt x="3057" y="657"/>
                </a:lnTo>
                <a:lnTo>
                  <a:pt x="3059" y="657"/>
                </a:lnTo>
                <a:lnTo>
                  <a:pt x="3071" y="652"/>
                </a:lnTo>
                <a:lnTo>
                  <a:pt x="3074" y="651"/>
                </a:lnTo>
                <a:lnTo>
                  <a:pt x="3075" y="649"/>
                </a:lnTo>
                <a:lnTo>
                  <a:pt x="3077" y="647"/>
                </a:lnTo>
                <a:lnTo>
                  <a:pt x="3082" y="643"/>
                </a:lnTo>
                <a:lnTo>
                  <a:pt x="3083" y="641"/>
                </a:lnTo>
                <a:lnTo>
                  <a:pt x="3085" y="640"/>
                </a:lnTo>
                <a:lnTo>
                  <a:pt x="3086" y="638"/>
                </a:lnTo>
                <a:lnTo>
                  <a:pt x="3087" y="635"/>
                </a:lnTo>
                <a:lnTo>
                  <a:pt x="3089" y="630"/>
                </a:lnTo>
                <a:lnTo>
                  <a:pt x="3091" y="626"/>
                </a:lnTo>
                <a:lnTo>
                  <a:pt x="3092" y="625"/>
                </a:lnTo>
                <a:lnTo>
                  <a:pt x="3092" y="623"/>
                </a:lnTo>
                <a:lnTo>
                  <a:pt x="3093" y="620"/>
                </a:lnTo>
                <a:lnTo>
                  <a:pt x="3093" y="619"/>
                </a:lnTo>
                <a:lnTo>
                  <a:pt x="3094" y="615"/>
                </a:lnTo>
                <a:lnTo>
                  <a:pt x="3095" y="608"/>
                </a:lnTo>
                <a:lnTo>
                  <a:pt x="3095" y="599"/>
                </a:lnTo>
                <a:lnTo>
                  <a:pt x="3095" y="582"/>
                </a:lnTo>
                <a:lnTo>
                  <a:pt x="3095" y="509"/>
                </a:lnTo>
                <a:lnTo>
                  <a:pt x="3095" y="483"/>
                </a:lnTo>
                <a:lnTo>
                  <a:pt x="3094" y="471"/>
                </a:lnTo>
                <a:lnTo>
                  <a:pt x="3093" y="466"/>
                </a:lnTo>
                <a:lnTo>
                  <a:pt x="3091" y="462"/>
                </a:lnTo>
                <a:lnTo>
                  <a:pt x="3091" y="460"/>
                </a:lnTo>
                <a:lnTo>
                  <a:pt x="3091" y="458"/>
                </a:lnTo>
                <a:lnTo>
                  <a:pt x="3088" y="455"/>
                </a:lnTo>
                <a:lnTo>
                  <a:pt x="3087" y="453"/>
                </a:lnTo>
                <a:lnTo>
                  <a:pt x="3086" y="451"/>
                </a:lnTo>
                <a:lnTo>
                  <a:pt x="3086" y="449"/>
                </a:lnTo>
                <a:lnTo>
                  <a:pt x="3083" y="447"/>
                </a:lnTo>
                <a:lnTo>
                  <a:pt x="3079" y="443"/>
                </a:lnTo>
                <a:lnTo>
                  <a:pt x="3077" y="442"/>
                </a:lnTo>
                <a:lnTo>
                  <a:pt x="3076" y="440"/>
                </a:lnTo>
                <a:lnTo>
                  <a:pt x="3074" y="438"/>
                </a:lnTo>
                <a:lnTo>
                  <a:pt x="3073" y="438"/>
                </a:lnTo>
                <a:lnTo>
                  <a:pt x="3070" y="437"/>
                </a:lnTo>
                <a:lnTo>
                  <a:pt x="3065" y="435"/>
                </a:lnTo>
                <a:lnTo>
                  <a:pt x="3064" y="433"/>
                </a:lnTo>
                <a:lnTo>
                  <a:pt x="3060" y="432"/>
                </a:lnTo>
                <a:lnTo>
                  <a:pt x="3057" y="431"/>
                </a:lnTo>
                <a:lnTo>
                  <a:pt x="3052" y="430"/>
                </a:lnTo>
                <a:lnTo>
                  <a:pt x="3047" y="430"/>
                </a:lnTo>
                <a:lnTo>
                  <a:pt x="3036" y="429"/>
                </a:lnTo>
                <a:lnTo>
                  <a:pt x="3013" y="429"/>
                </a:lnTo>
                <a:close/>
                <a:moveTo>
                  <a:pt x="4374" y="266"/>
                </a:moveTo>
                <a:lnTo>
                  <a:pt x="4371" y="266"/>
                </a:lnTo>
                <a:lnTo>
                  <a:pt x="4368" y="267"/>
                </a:lnTo>
                <a:lnTo>
                  <a:pt x="4366" y="267"/>
                </a:lnTo>
                <a:lnTo>
                  <a:pt x="4363" y="269"/>
                </a:lnTo>
                <a:lnTo>
                  <a:pt x="4362" y="270"/>
                </a:lnTo>
                <a:lnTo>
                  <a:pt x="4360" y="271"/>
                </a:lnTo>
                <a:lnTo>
                  <a:pt x="4357" y="274"/>
                </a:lnTo>
                <a:lnTo>
                  <a:pt x="4355" y="276"/>
                </a:lnTo>
                <a:lnTo>
                  <a:pt x="4353" y="277"/>
                </a:lnTo>
                <a:lnTo>
                  <a:pt x="4351" y="280"/>
                </a:lnTo>
                <a:lnTo>
                  <a:pt x="4350" y="282"/>
                </a:lnTo>
                <a:lnTo>
                  <a:pt x="4349" y="286"/>
                </a:lnTo>
                <a:lnTo>
                  <a:pt x="4348" y="289"/>
                </a:lnTo>
                <a:lnTo>
                  <a:pt x="4348" y="292"/>
                </a:lnTo>
                <a:lnTo>
                  <a:pt x="4348" y="294"/>
                </a:lnTo>
                <a:lnTo>
                  <a:pt x="4346" y="298"/>
                </a:lnTo>
                <a:lnTo>
                  <a:pt x="4346" y="307"/>
                </a:lnTo>
                <a:lnTo>
                  <a:pt x="4345" y="310"/>
                </a:lnTo>
                <a:lnTo>
                  <a:pt x="4345" y="315"/>
                </a:lnTo>
                <a:lnTo>
                  <a:pt x="4345" y="325"/>
                </a:lnTo>
                <a:lnTo>
                  <a:pt x="4345" y="360"/>
                </a:lnTo>
                <a:lnTo>
                  <a:pt x="4345" y="488"/>
                </a:lnTo>
                <a:lnTo>
                  <a:pt x="4345" y="521"/>
                </a:lnTo>
                <a:lnTo>
                  <a:pt x="4346" y="531"/>
                </a:lnTo>
                <a:lnTo>
                  <a:pt x="4346" y="534"/>
                </a:lnTo>
                <a:lnTo>
                  <a:pt x="4348" y="537"/>
                </a:lnTo>
                <a:lnTo>
                  <a:pt x="4348" y="540"/>
                </a:lnTo>
                <a:lnTo>
                  <a:pt x="4349" y="545"/>
                </a:lnTo>
                <a:lnTo>
                  <a:pt x="4351" y="548"/>
                </a:lnTo>
                <a:lnTo>
                  <a:pt x="4353" y="549"/>
                </a:lnTo>
                <a:lnTo>
                  <a:pt x="4355" y="552"/>
                </a:lnTo>
                <a:lnTo>
                  <a:pt x="4356" y="554"/>
                </a:lnTo>
                <a:lnTo>
                  <a:pt x="4357" y="557"/>
                </a:lnTo>
                <a:lnTo>
                  <a:pt x="4360" y="558"/>
                </a:lnTo>
                <a:lnTo>
                  <a:pt x="4363" y="559"/>
                </a:lnTo>
                <a:lnTo>
                  <a:pt x="4366" y="560"/>
                </a:lnTo>
                <a:lnTo>
                  <a:pt x="4369" y="562"/>
                </a:lnTo>
                <a:lnTo>
                  <a:pt x="4378" y="563"/>
                </a:lnTo>
                <a:lnTo>
                  <a:pt x="4382" y="563"/>
                </a:lnTo>
                <a:lnTo>
                  <a:pt x="4389" y="563"/>
                </a:lnTo>
                <a:lnTo>
                  <a:pt x="4391" y="562"/>
                </a:lnTo>
                <a:lnTo>
                  <a:pt x="4394" y="562"/>
                </a:lnTo>
                <a:lnTo>
                  <a:pt x="4397" y="560"/>
                </a:lnTo>
                <a:lnTo>
                  <a:pt x="4401" y="559"/>
                </a:lnTo>
                <a:lnTo>
                  <a:pt x="4405" y="557"/>
                </a:lnTo>
                <a:lnTo>
                  <a:pt x="4406" y="556"/>
                </a:lnTo>
                <a:lnTo>
                  <a:pt x="4408" y="553"/>
                </a:lnTo>
                <a:lnTo>
                  <a:pt x="4411" y="551"/>
                </a:lnTo>
                <a:lnTo>
                  <a:pt x="4413" y="548"/>
                </a:lnTo>
                <a:lnTo>
                  <a:pt x="4413" y="499"/>
                </a:lnTo>
                <a:lnTo>
                  <a:pt x="4413" y="280"/>
                </a:lnTo>
                <a:lnTo>
                  <a:pt x="4406" y="272"/>
                </a:lnTo>
                <a:lnTo>
                  <a:pt x="4403" y="272"/>
                </a:lnTo>
                <a:lnTo>
                  <a:pt x="4397" y="269"/>
                </a:lnTo>
                <a:lnTo>
                  <a:pt x="4392" y="267"/>
                </a:lnTo>
                <a:lnTo>
                  <a:pt x="4389" y="266"/>
                </a:lnTo>
                <a:lnTo>
                  <a:pt x="4384" y="266"/>
                </a:lnTo>
                <a:lnTo>
                  <a:pt x="4374" y="266"/>
                </a:lnTo>
                <a:close/>
                <a:moveTo>
                  <a:pt x="4847" y="422"/>
                </a:moveTo>
                <a:lnTo>
                  <a:pt x="4915" y="422"/>
                </a:lnTo>
                <a:lnTo>
                  <a:pt x="4915" y="319"/>
                </a:lnTo>
                <a:lnTo>
                  <a:pt x="4915" y="302"/>
                </a:lnTo>
                <a:lnTo>
                  <a:pt x="4913" y="287"/>
                </a:lnTo>
                <a:lnTo>
                  <a:pt x="4913" y="280"/>
                </a:lnTo>
                <a:lnTo>
                  <a:pt x="4911" y="272"/>
                </a:lnTo>
                <a:lnTo>
                  <a:pt x="4909" y="267"/>
                </a:lnTo>
                <a:lnTo>
                  <a:pt x="4906" y="261"/>
                </a:lnTo>
                <a:lnTo>
                  <a:pt x="4904" y="260"/>
                </a:lnTo>
                <a:lnTo>
                  <a:pt x="4901" y="258"/>
                </a:lnTo>
                <a:lnTo>
                  <a:pt x="4898" y="255"/>
                </a:lnTo>
                <a:lnTo>
                  <a:pt x="4893" y="254"/>
                </a:lnTo>
                <a:lnTo>
                  <a:pt x="4888" y="253"/>
                </a:lnTo>
                <a:lnTo>
                  <a:pt x="4882" y="253"/>
                </a:lnTo>
                <a:lnTo>
                  <a:pt x="4873" y="253"/>
                </a:lnTo>
                <a:lnTo>
                  <a:pt x="4870" y="253"/>
                </a:lnTo>
                <a:lnTo>
                  <a:pt x="4867" y="254"/>
                </a:lnTo>
                <a:lnTo>
                  <a:pt x="4866" y="254"/>
                </a:lnTo>
                <a:lnTo>
                  <a:pt x="4863" y="257"/>
                </a:lnTo>
                <a:lnTo>
                  <a:pt x="4860" y="258"/>
                </a:lnTo>
                <a:lnTo>
                  <a:pt x="4859" y="259"/>
                </a:lnTo>
                <a:lnTo>
                  <a:pt x="4857" y="260"/>
                </a:lnTo>
                <a:lnTo>
                  <a:pt x="4855" y="263"/>
                </a:lnTo>
                <a:lnTo>
                  <a:pt x="4852" y="267"/>
                </a:lnTo>
                <a:lnTo>
                  <a:pt x="4849" y="274"/>
                </a:lnTo>
                <a:lnTo>
                  <a:pt x="4848" y="280"/>
                </a:lnTo>
                <a:lnTo>
                  <a:pt x="4847" y="286"/>
                </a:lnTo>
                <a:lnTo>
                  <a:pt x="4847" y="300"/>
                </a:lnTo>
                <a:lnTo>
                  <a:pt x="4847" y="318"/>
                </a:lnTo>
                <a:lnTo>
                  <a:pt x="4847" y="422"/>
                </a:lnTo>
                <a:close/>
                <a:moveTo>
                  <a:pt x="3521" y="422"/>
                </a:moveTo>
                <a:lnTo>
                  <a:pt x="3589" y="422"/>
                </a:lnTo>
                <a:lnTo>
                  <a:pt x="3589" y="316"/>
                </a:lnTo>
                <a:lnTo>
                  <a:pt x="3589" y="302"/>
                </a:lnTo>
                <a:lnTo>
                  <a:pt x="3589" y="287"/>
                </a:lnTo>
                <a:lnTo>
                  <a:pt x="3587" y="280"/>
                </a:lnTo>
                <a:lnTo>
                  <a:pt x="3586" y="274"/>
                </a:lnTo>
                <a:lnTo>
                  <a:pt x="3584" y="267"/>
                </a:lnTo>
                <a:lnTo>
                  <a:pt x="3581" y="263"/>
                </a:lnTo>
                <a:lnTo>
                  <a:pt x="3579" y="261"/>
                </a:lnTo>
                <a:lnTo>
                  <a:pt x="3577" y="258"/>
                </a:lnTo>
                <a:lnTo>
                  <a:pt x="3575" y="257"/>
                </a:lnTo>
                <a:lnTo>
                  <a:pt x="3572" y="255"/>
                </a:lnTo>
                <a:lnTo>
                  <a:pt x="3568" y="254"/>
                </a:lnTo>
                <a:lnTo>
                  <a:pt x="3566" y="254"/>
                </a:lnTo>
                <a:lnTo>
                  <a:pt x="3563" y="253"/>
                </a:lnTo>
                <a:lnTo>
                  <a:pt x="3554" y="253"/>
                </a:lnTo>
                <a:lnTo>
                  <a:pt x="3548" y="253"/>
                </a:lnTo>
                <a:lnTo>
                  <a:pt x="3543" y="254"/>
                </a:lnTo>
                <a:lnTo>
                  <a:pt x="3538" y="257"/>
                </a:lnTo>
                <a:lnTo>
                  <a:pt x="3534" y="258"/>
                </a:lnTo>
                <a:lnTo>
                  <a:pt x="3531" y="261"/>
                </a:lnTo>
                <a:lnTo>
                  <a:pt x="3528" y="264"/>
                </a:lnTo>
                <a:lnTo>
                  <a:pt x="3527" y="266"/>
                </a:lnTo>
                <a:lnTo>
                  <a:pt x="3526" y="269"/>
                </a:lnTo>
                <a:lnTo>
                  <a:pt x="3523" y="274"/>
                </a:lnTo>
                <a:lnTo>
                  <a:pt x="3522" y="280"/>
                </a:lnTo>
                <a:lnTo>
                  <a:pt x="3522" y="287"/>
                </a:lnTo>
                <a:lnTo>
                  <a:pt x="3521" y="302"/>
                </a:lnTo>
                <a:lnTo>
                  <a:pt x="3521" y="316"/>
                </a:lnTo>
                <a:lnTo>
                  <a:pt x="3521" y="422"/>
                </a:lnTo>
                <a:close/>
                <a:moveTo>
                  <a:pt x="2451" y="253"/>
                </a:moveTo>
                <a:lnTo>
                  <a:pt x="2448" y="253"/>
                </a:lnTo>
                <a:lnTo>
                  <a:pt x="2443" y="255"/>
                </a:lnTo>
                <a:lnTo>
                  <a:pt x="2440" y="257"/>
                </a:lnTo>
                <a:lnTo>
                  <a:pt x="2438" y="258"/>
                </a:lnTo>
                <a:lnTo>
                  <a:pt x="2436" y="260"/>
                </a:lnTo>
                <a:lnTo>
                  <a:pt x="2433" y="263"/>
                </a:lnTo>
                <a:lnTo>
                  <a:pt x="2431" y="265"/>
                </a:lnTo>
                <a:lnTo>
                  <a:pt x="2429" y="266"/>
                </a:lnTo>
                <a:lnTo>
                  <a:pt x="2429" y="269"/>
                </a:lnTo>
                <a:lnTo>
                  <a:pt x="2428" y="271"/>
                </a:lnTo>
                <a:lnTo>
                  <a:pt x="2426" y="276"/>
                </a:lnTo>
                <a:lnTo>
                  <a:pt x="2425" y="282"/>
                </a:lnTo>
                <a:lnTo>
                  <a:pt x="2423" y="289"/>
                </a:lnTo>
                <a:lnTo>
                  <a:pt x="2423" y="304"/>
                </a:lnTo>
                <a:lnTo>
                  <a:pt x="2423" y="363"/>
                </a:lnTo>
                <a:lnTo>
                  <a:pt x="2423" y="569"/>
                </a:lnTo>
                <a:lnTo>
                  <a:pt x="2423" y="623"/>
                </a:lnTo>
                <a:lnTo>
                  <a:pt x="2423" y="641"/>
                </a:lnTo>
                <a:lnTo>
                  <a:pt x="2425" y="649"/>
                </a:lnTo>
                <a:lnTo>
                  <a:pt x="2427" y="657"/>
                </a:lnTo>
                <a:lnTo>
                  <a:pt x="2429" y="662"/>
                </a:lnTo>
                <a:lnTo>
                  <a:pt x="2431" y="664"/>
                </a:lnTo>
                <a:lnTo>
                  <a:pt x="2433" y="667"/>
                </a:lnTo>
                <a:lnTo>
                  <a:pt x="2434" y="669"/>
                </a:lnTo>
                <a:lnTo>
                  <a:pt x="2437" y="671"/>
                </a:lnTo>
                <a:lnTo>
                  <a:pt x="2439" y="673"/>
                </a:lnTo>
                <a:lnTo>
                  <a:pt x="2444" y="674"/>
                </a:lnTo>
                <a:lnTo>
                  <a:pt x="2448" y="675"/>
                </a:lnTo>
                <a:lnTo>
                  <a:pt x="2457" y="676"/>
                </a:lnTo>
                <a:lnTo>
                  <a:pt x="2459" y="676"/>
                </a:lnTo>
                <a:lnTo>
                  <a:pt x="2466" y="676"/>
                </a:lnTo>
                <a:lnTo>
                  <a:pt x="2474" y="675"/>
                </a:lnTo>
                <a:lnTo>
                  <a:pt x="2477" y="674"/>
                </a:lnTo>
                <a:lnTo>
                  <a:pt x="2479" y="673"/>
                </a:lnTo>
                <a:lnTo>
                  <a:pt x="2481" y="671"/>
                </a:lnTo>
                <a:lnTo>
                  <a:pt x="2483" y="670"/>
                </a:lnTo>
                <a:lnTo>
                  <a:pt x="2485" y="669"/>
                </a:lnTo>
                <a:lnTo>
                  <a:pt x="2486" y="667"/>
                </a:lnTo>
                <a:lnTo>
                  <a:pt x="2489" y="664"/>
                </a:lnTo>
                <a:lnTo>
                  <a:pt x="2491" y="663"/>
                </a:lnTo>
                <a:lnTo>
                  <a:pt x="2491" y="584"/>
                </a:lnTo>
                <a:lnTo>
                  <a:pt x="2491" y="267"/>
                </a:lnTo>
                <a:lnTo>
                  <a:pt x="2488" y="264"/>
                </a:lnTo>
                <a:lnTo>
                  <a:pt x="2485" y="260"/>
                </a:lnTo>
                <a:lnTo>
                  <a:pt x="2483" y="259"/>
                </a:lnTo>
                <a:lnTo>
                  <a:pt x="2479" y="258"/>
                </a:lnTo>
                <a:lnTo>
                  <a:pt x="2477" y="257"/>
                </a:lnTo>
                <a:lnTo>
                  <a:pt x="2474" y="255"/>
                </a:lnTo>
                <a:lnTo>
                  <a:pt x="2472" y="254"/>
                </a:lnTo>
                <a:lnTo>
                  <a:pt x="2469" y="254"/>
                </a:lnTo>
                <a:lnTo>
                  <a:pt x="2463" y="253"/>
                </a:lnTo>
                <a:lnTo>
                  <a:pt x="2451" y="253"/>
                </a:lnTo>
                <a:close/>
                <a:moveTo>
                  <a:pt x="740" y="246"/>
                </a:moveTo>
                <a:lnTo>
                  <a:pt x="730" y="248"/>
                </a:lnTo>
                <a:lnTo>
                  <a:pt x="725" y="250"/>
                </a:lnTo>
                <a:lnTo>
                  <a:pt x="723" y="252"/>
                </a:lnTo>
                <a:lnTo>
                  <a:pt x="720" y="255"/>
                </a:lnTo>
                <a:lnTo>
                  <a:pt x="718" y="257"/>
                </a:lnTo>
                <a:lnTo>
                  <a:pt x="717" y="259"/>
                </a:lnTo>
                <a:lnTo>
                  <a:pt x="716" y="260"/>
                </a:lnTo>
                <a:lnTo>
                  <a:pt x="716" y="263"/>
                </a:lnTo>
                <a:lnTo>
                  <a:pt x="714" y="265"/>
                </a:lnTo>
                <a:lnTo>
                  <a:pt x="713" y="270"/>
                </a:lnTo>
                <a:lnTo>
                  <a:pt x="712" y="275"/>
                </a:lnTo>
                <a:lnTo>
                  <a:pt x="711" y="281"/>
                </a:lnTo>
                <a:lnTo>
                  <a:pt x="711" y="294"/>
                </a:lnTo>
                <a:lnTo>
                  <a:pt x="711" y="352"/>
                </a:lnTo>
                <a:lnTo>
                  <a:pt x="711" y="579"/>
                </a:lnTo>
                <a:lnTo>
                  <a:pt x="711" y="634"/>
                </a:lnTo>
                <a:lnTo>
                  <a:pt x="712" y="649"/>
                </a:lnTo>
                <a:lnTo>
                  <a:pt x="712" y="653"/>
                </a:lnTo>
                <a:lnTo>
                  <a:pt x="712" y="656"/>
                </a:lnTo>
                <a:lnTo>
                  <a:pt x="714" y="663"/>
                </a:lnTo>
                <a:lnTo>
                  <a:pt x="714" y="664"/>
                </a:lnTo>
                <a:lnTo>
                  <a:pt x="716" y="667"/>
                </a:lnTo>
                <a:lnTo>
                  <a:pt x="717" y="669"/>
                </a:lnTo>
                <a:lnTo>
                  <a:pt x="719" y="671"/>
                </a:lnTo>
                <a:lnTo>
                  <a:pt x="722" y="675"/>
                </a:lnTo>
                <a:lnTo>
                  <a:pt x="724" y="676"/>
                </a:lnTo>
                <a:lnTo>
                  <a:pt x="725" y="678"/>
                </a:lnTo>
                <a:lnTo>
                  <a:pt x="728" y="679"/>
                </a:lnTo>
                <a:lnTo>
                  <a:pt x="731" y="681"/>
                </a:lnTo>
                <a:lnTo>
                  <a:pt x="736" y="682"/>
                </a:lnTo>
                <a:lnTo>
                  <a:pt x="740" y="682"/>
                </a:lnTo>
                <a:lnTo>
                  <a:pt x="746" y="682"/>
                </a:lnTo>
                <a:lnTo>
                  <a:pt x="751" y="682"/>
                </a:lnTo>
                <a:lnTo>
                  <a:pt x="754" y="682"/>
                </a:lnTo>
                <a:lnTo>
                  <a:pt x="757" y="681"/>
                </a:lnTo>
                <a:lnTo>
                  <a:pt x="759" y="681"/>
                </a:lnTo>
                <a:lnTo>
                  <a:pt x="763" y="679"/>
                </a:lnTo>
                <a:lnTo>
                  <a:pt x="765" y="678"/>
                </a:lnTo>
                <a:lnTo>
                  <a:pt x="766" y="678"/>
                </a:lnTo>
                <a:lnTo>
                  <a:pt x="768" y="675"/>
                </a:lnTo>
                <a:lnTo>
                  <a:pt x="770" y="674"/>
                </a:lnTo>
                <a:lnTo>
                  <a:pt x="772" y="671"/>
                </a:lnTo>
                <a:lnTo>
                  <a:pt x="774" y="669"/>
                </a:lnTo>
                <a:lnTo>
                  <a:pt x="775" y="668"/>
                </a:lnTo>
                <a:lnTo>
                  <a:pt x="775" y="665"/>
                </a:lnTo>
                <a:lnTo>
                  <a:pt x="776" y="662"/>
                </a:lnTo>
                <a:lnTo>
                  <a:pt x="777" y="658"/>
                </a:lnTo>
                <a:lnTo>
                  <a:pt x="778" y="651"/>
                </a:lnTo>
                <a:lnTo>
                  <a:pt x="780" y="642"/>
                </a:lnTo>
                <a:lnTo>
                  <a:pt x="780" y="632"/>
                </a:lnTo>
                <a:lnTo>
                  <a:pt x="780" y="581"/>
                </a:lnTo>
                <a:lnTo>
                  <a:pt x="780" y="336"/>
                </a:lnTo>
                <a:lnTo>
                  <a:pt x="780" y="293"/>
                </a:lnTo>
                <a:lnTo>
                  <a:pt x="778" y="283"/>
                </a:lnTo>
                <a:lnTo>
                  <a:pt x="778" y="275"/>
                </a:lnTo>
                <a:lnTo>
                  <a:pt x="777" y="266"/>
                </a:lnTo>
                <a:lnTo>
                  <a:pt x="776" y="263"/>
                </a:lnTo>
                <a:lnTo>
                  <a:pt x="774" y="260"/>
                </a:lnTo>
                <a:lnTo>
                  <a:pt x="772" y="258"/>
                </a:lnTo>
                <a:lnTo>
                  <a:pt x="771" y="257"/>
                </a:lnTo>
                <a:lnTo>
                  <a:pt x="770" y="255"/>
                </a:lnTo>
                <a:lnTo>
                  <a:pt x="768" y="253"/>
                </a:lnTo>
                <a:lnTo>
                  <a:pt x="765" y="252"/>
                </a:lnTo>
                <a:lnTo>
                  <a:pt x="764" y="250"/>
                </a:lnTo>
                <a:lnTo>
                  <a:pt x="760" y="249"/>
                </a:lnTo>
                <a:lnTo>
                  <a:pt x="758" y="248"/>
                </a:lnTo>
                <a:lnTo>
                  <a:pt x="754" y="247"/>
                </a:lnTo>
                <a:lnTo>
                  <a:pt x="749" y="247"/>
                </a:lnTo>
                <a:lnTo>
                  <a:pt x="740" y="246"/>
                </a:lnTo>
                <a:close/>
                <a:moveTo>
                  <a:pt x="5090" y="532"/>
                </a:moveTo>
                <a:lnTo>
                  <a:pt x="4846" y="532"/>
                </a:lnTo>
                <a:lnTo>
                  <a:pt x="4846" y="569"/>
                </a:lnTo>
                <a:lnTo>
                  <a:pt x="4846" y="579"/>
                </a:lnTo>
                <a:lnTo>
                  <a:pt x="4846" y="584"/>
                </a:lnTo>
                <a:lnTo>
                  <a:pt x="4846" y="587"/>
                </a:lnTo>
                <a:lnTo>
                  <a:pt x="4846" y="593"/>
                </a:lnTo>
                <a:lnTo>
                  <a:pt x="4847" y="597"/>
                </a:lnTo>
                <a:lnTo>
                  <a:pt x="4847" y="601"/>
                </a:lnTo>
                <a:lnTo>
                  <a:pt x="4848" y="603"/>
                </a:lnTo>
                <a:lnTo>
                  <a:pt x="4848" y="604"/>
                </a:lnTo>
                <a:lnTo>
                  <a:pt x="4849" y="607"/>
                </a:lnTo>
                <a:lnTo>
                  <a:pt x="4849" y="609"/>
                </a:lnTo>
                <a:lnTo>
                  <a:pt x="4851" y="612"/>
                </a:lnTo>
                <a:lnTo>
                  <a:pt x="4853" y="615"/>
                </a:lnTo>
                <a:lnTo>
                  <a:pt x="4854" y="619"/>
                </a:lnTo>
                <a:lnTo>
                  <a:pt x="4855" y="620"/>
                </a:lnTo>
                <a:lnTo>
                  <a:pt x="4857" y="623"/>
                </a:lnTo>
                <a:lnTo>
                  <a:pt x="4859" y="625"/>
                </a:lnTo>
                <a:lnTo>
                  <a:pt x="4861" y="628"/>
                </a:lnTo>
                <a:lnTo>
                  <a:pt x="4865" y="631"/>
                </a:lnTo>
                <a:lnTo>
                  <a:pt x="4866" y="632"/>
                </a:lnTo>
                <a:lnTo>
                  <a:pt x="4869" y="634"/>
                </a:lnTo>
                <a:lnTo>
                  <a:pt x="4870" y="634"/>
                </a:lnTo>
                <a:lnTo>
                  <a:pt x="4875" y="636"/>
                </a:lnTo>
                <a:lnTo>
                  <a:pt x="4878" y="637"/>
                </a:lnTo>
                <a:lnTo>
                  <a:pt x="4888" y="640"/>
                </a:lnTo>
                <a:lnTo>
                  <a:pt x="4898" y="641"/>
                </a:lnTo>
                <a:lnTo>
                  <a:pt x="4909" y="642"/>
                </a:lnTo>
                <a:lnTo>
                  <a:pt x="4921" y="642"/>
                </a:lnTo>
                <a:lnTo>
                  <a:pt x="4945" y="641"/>
                </a:lnTo>
                <a:lnTo>
                  <a:pt x="4953" y="641"/>
                </a:lnTo>
                <a:lnTo>
                  <a:pt x="4959" y="640"/>
                </a:lnTo>
                <a:lnTo>
                  <a:pt x="4967" y="640"/>
                </a:lnTo>
                <a:lnTo>
                  <a:pt x="4971" y="638"/>
                </a:lnTo>
                <a:lnTo>
                  <a:pt x="4976" y="638"/>
                </a:lnTo>
                <a:lnTo>
                  <a:pt x="4982" y="637"/>
                </a:lnTo>
                <a:lnTo>
                  <a:pt x="4987" y="636"/>
                </a:lnTo>
                <a:lnTo>
                  <a:pt x="4993" y="636"/>
                </a:lnTo>
                <a:lnTo>
                  <a:pt x="4998" y="635"/>
                </a:lnTo>
                <a:lnTo>
                  <a:pt x="5005" y="634"/>
                </a:lnTo>
                <a:lnTo>
                  <a:pt x="5045" y="626"/>
                </a:lnTo>
                <a:lnTo>
                  <a:pt x="5081" y="618"/>
                </a:lnTo>
                <a:lnTo>
                  <a:pt x="5086" y="768"/>
                </a:lnTo>
                <a:lnTo>
                  <a:pt x="5081" y="769"/>
                </a:lnTo>
                <a:lnTo>
                  <a:pt x="5079" y="769"/>
                </a:lnTo>
                <a:lnTo>
                  <a:pt x="5078" y="770"/>
                </a:lnTo>
                <a:lnTo>
                  <a:pt x="5075" y="770"/>
                </a:lnTo>
                <a:lnTo>
                  <a:pt x="5074" y="772"/>
                </a:lnTo>
                <a:lnTo>
                  <a:pt x="5073" y="772"/>
                </a:lnTo>
                <a:lnTo>
                  <a:pt x="5071" y="773"/>
                </a:lnTo>
                <a:lnTo>
                  <a:pt x="5068" y="773"/>
                </a:lnTo>
                <a:lnTo>
                  <a:pt x="5067" y="774"/>
                </a:lnTo>
                <a:lnTo>
                  <a:pt x="5062" y="775"/>
                </a:lnTo>
                <a:lnTo>
                  <a:pt x="5058" y="776"/>
                </a:lnTo>
                <a:lnTo>
                  <a:pt x="5056" y="776"/>
                </a:lnTo>
                <a:lnTo>
                  <a:pt x="5050" y="779"/>
                </a:lnTo>
                <a:lnTo>
                  <a:pt x="5008" y="789"/>
                </a:lnTo>
                <a:lnTo>
                  <a:pt x="4967" y="795"/>
                </a:lnTo>
                <a:lnTo>
                  <a:pt x="4952" y="796"/>
                </a:lnTo>
                <a:lnTo>
                  <a:pt x="4946" y="796"/>
                </a:lnTo>
                <a:lnTo>
                  <a:pt x="4940" y="797"/>
                </a:lnTo>
                <a:lnTo>
                  <a:pt x="4933" y="797"/>
                </a:lnTo>
                <a:lnTo>
                  <a:pt x="4925" y="798"/>
                </a:lnTo>
                <a:lnTo>
                  <a:pt x="4915" y="798"/>
                </a:lnTo>
                <a:lnTo>
                  <a:pt x="4903" y="800"/>
                </a:lnTo>
                <a:lnTo>
                  <a:pt x="4870" y="800"/>
                </a:lnTo>
                <a:lnTo>
                  <a:pt x="4861" y="800"/>
                </a:lnTo>
                <a:lnTo>
                  <a:pt x="4858" y="800"/>
                </a:lnTo>
                <a:lnTo>
                  <a:pt x="4854" y="800"/>
                </a:lnTo>
                <a:lnTo>
                  <a:pt x="4844" y="800"/>
                </a:lnTo>
                <a:lnTo>
                  <a:pt x="4838" y="798"/>
                </a:lnTo>
                <a:lnTo>
                  <a:pt x="4832" y="798"/>
                </a:lnTo>
                <a:lnTo>
                  <a:pt x="4826" y="797"/>
                </a:lnTo>
                <a:lnTo>
                  <a:pt x="4819" y="796"/>
                </a:lnTo>
                <a:lnTo>
                  <a:pt x="4815" y="796"/>
                </a:lnTo>
                <a:lnTo>
                  <a:pt x="4788" y="790"/>
                </a:lnTo>
                <a:lnTo>
                  <a:pt x="4786" y="789"/>
                </a:lnTo>
                <a:lnTo>
                  <a:pt x="4784" y="789"/>
                </a:lnTo>
                <a:lnTo>
                  <a:pt x="4783" y="787"/>
                </a:lnTo>
                <a:lnTo>
                  <a:pt x="4782" y="787"/>
                </a:lnTo>
                <a:lnTo>
                  <a:pt x="4779" y="786"/>
                </a:lnTo>
                <a:lnTo>
                  <a:pt x="4776" y="785"/>
                </a:lnTo>
                <a:lnTo>
                  <a:pt x="4773" y="784"/>
                </a:lnTo>
                <a:lnTo>
                  <a:pt x="4770" y="782"/>
                </a:lnTo>
                <a:lnTo>
                  <a:pt x="4767" y="781"/>
                </a:lnTo>
                <a:lnTo>
                  <a:pt x="4765" y="780"/>
                </a:lnTo>
                <a:lnTo>
                  <a:pt x="4762" y="780"/>
                </a:lnTo>
                <a:lnTo>
                  <a:pt x="4759" y="778"/>
                </a:lnTo>
                <a:lnTo>
                  <a:pt x="4754" y="775"/>
                </a:lnTo>
                <a:lnTo>
                  <a:pt x="4750" y="773"/>
                </a:lnTo>
                <a:lnTo>
                  <a:pt x="4747" y="772"/>
                </a:lnTo>
                <a:lnTo>
                  <a:pt x="4744" y="769"/>
                </a:lnTo>
                <a:lnTo>
                  <a:pt x="4742" y="768"/>
                </a:lnTo>
                <a:lnTo>
                  <a:pt x="4741" y="767"/>
                </a:lnTo>
                <a:lnTo>
                  <a:pt x="4739" y="765"/>
                </a:lnTo>
                <a:lnTo>
                  <a:pt x="4738" y="764"/>
                </a:lnTo>
                <a:lnTo>
                  <a:pt x="4736" y="763"/>
                </a:lnTo>
                <a:lnTo>
                  <a:pt x="4733" y="762"/>
                </a:lnTo>
                <a:lnTo>
                  <a:pt x="4731" y="759"/>
                </a:lnTo>
                <a:lnTo>
                  <a:pt x="4727" y="756"/>
                </a:lnTo>
                <a:lnTo>
                  <a:pt x="4722" y="751"/>
                </a:lnTo>
                <a:lnTo>
                  <a:pt x="4719" y="750"/>
                </a:lnTo>
                <a:lnTo>
                  <a:pt x="4714" y="745"/>
                </a:lnTo>
                <a:lnTo>
                  <a:pt x="4709" y="739"/>
                </a:lnTo>
                <a:lnTo>
                  <a:pt x="4707" y="736"/>
                </a:lnTo>
                <a:lnTo>
                  <a:pt x="4704" y="732"/>
                </a:lnTo>
                <a:lnTo>
                  <a:pt x="4702" y="730"/>
                </a:lnTo>
                <a:lnTo>
                  <a:pt x="4701" y="728"/>
                </a:lnTo>
                <a:lnTo>
                  <a:pt x="4699" y="726"/>
                </a:lnTo>
                <a:lnTo>
                  <a:pt x="4698" y="724"/>
                </a:lnTo>
                <a:lnTo>
                  <a:pt x="4697" y="723"/>
                </a:lnTo>
                <a:lnTo>
                  <a:pt x="4696" y="721"/>
                </a:lnTo>
                <a:lnTo>
                  <a:pt x="4695" y="719"/>
                </a:lnTo>
                <a:lnTo>
                  <a:pt x="4693" y="718"/>
                </a:lnTo>
                <a:lnTo>
                  <a:pt x="4693" y="715"/>
                </a:lnTo>
                <a:lnTo>
                  <a:pt x="4691" y="712"/>
                </a:lnTo>
                <a:lnTo>
                  <a:pt x="4690" y="710"/>
                </a:lnTo>
                <a:lnTo>
                  <a:pt x="4689" y="708"/>
                </a:lnTo>
                <a:lnTo>
                  <a:pt x="4687" y="706"/>
                </a:lnTo>
                <a:lnTo>
                  <a:pt x="4686" y="703"/>
                </a:lnTo>
                <a:lnTo>
                  <a:pt x="4684" y="698"/>
                </a:lnTo>
                <a:lnTo>
                  <a:pt x="4683" y="696"/>
                </a:lnTo>
                <a:lnTo>
                  <a:pt x="4681" y="692"/>
                </a:lnTo>
                <a:lnTo>
                  <a:pt x="4680" y="690"/>
                </a:lnTo>
                <a:lnTo>
                  <a:pt x="4679" y="687"/>
                </a:lnTo>
                <a:lnTo>
                  <a:pt x="4679" y="686"/>
                </a:lnTo>
                <a:lnTo>
                  <a:pt x="4668" y="657"/>
                </a:lnTo>
                <a:lnTo>
                  <a:pt x="4667" y="649"/>
                </a:lnTo>
                <a:lnTo>
                  <a:pt x="4664" y="638"/>
                </a:lnTo>
                <a:lnTo>
                  <a:pt x="4662" y="629"/>
                </a:lnTo>
                <a:lnTo>
                  <a:pt x="4662" y="625"/>
                </a:lnTo>
                <a:lnTo>
                  <a:pt x="4661" y="621"/>
                </a:lnTo>
                <a:lnTo>
                  <a:pt x="4661" y="618"/>
                </a:lnTo>
                <a:lnTo>
                  <a:pt x="4660" y="614"/>
                </a:lnTo>
                <a:lnTo>
                  <a:pt x="4660" y="610"/>
                </a:lnTo>
                <a:lnTo>
                  <a:pt x="4658" y="606"/>
                </a:lnTo>
                <a:lnTo>
                  <a:pt x="4658" y="601"/>
                </a:lnTo>
                <a:lnTo>
                  <a:pt x="4657" y="596"/>
                </a:lnTo>
                <a:lnTo>
                  <a:pt x="4657" y="590"/>
                </a:lnTo>
                <a:lnTo>
                  <a:pt x="4656" y="584"/>
                </a:lnTo>
                <a:lnTo>
                  <a:pt x="4656" y="575"/>
                </a:lnTo>
                <a:lnTo>
                  <a:pt x="4655" y="565"/>
                </a:lnTo>
                <a:lnTo>
                  <a:pt x="4655" y="547"/>
                </a:lnTo>
                <a:lnTo>
                  <a:pt x="4654" y="542"/>
                </a:lnTo>
                <a:lnTo>
                  <a:pt x="4654" y="536"/>
                </a:lnTo>
                <a:lnTo>
                  <a:pt x="4654" y="523"/>
                </a:lnTo>
                <a:lnTo>
                  <a:pt x="4654" y="471"/>
                </a:lnTo>
                <a:lnTo>
                  <a:pt x="4654" y="418"/>
                </a:lnTo>
                <a:lnTo>
                  <a:pt x="4654" y="404"/>
                </a:lnTo>
                <a:lnTo>
                  <a:pt x="4654" y="397"/>
                </a:lnTo>
                <a:lnTo>
                  <a:pt x="4654" y="394"/>
                </a:lnTo>
                <a:lnTo>
                  <a:pt x="4655" y="392"/>
                </a:lnTo>
                <a:lnTo>
                  <a:pt x="4655" y="383"/>
                </a:lnTo>
                <a:lnTo>
                  <a:pt x="4655" y="364"/>
                </a:lnTo>
                <a:lnTo>
                  <a:pt x="4656" y="355"/>
                </a:lnTo>
                <a:lnTo>
                  <a:pt x="4656" y="349"/>
                </a:lnTo>
                <a:lnTo>
                  <a:pt x="4657" y="344"/>
                </a:lnTo>
                <a:lnTo>
                  <a:pt x="4658" y="339"/>
                </a:lnTo>
                <a:lnTo>
                  <a:pt x="4658" y="333"/>
                </a:lnTo>
                <a:lnTo>
                  <a:pt x="4660" y="329"/>
                </a:lnTo>
                <a:lnTo>
                  <a:pt x="4660" y="321"/>
                </a:lnTo>
                <a:lnTo>
                  <a:pt x="4661" y="314"/>
                </a:lnTo>
                <a:lnTo>
                  <a:pt x="4666" y="297"/>
                </a:lnTo>
                <a:lnTo>
                  <a:pt x="4666" y="293"/>
                </a:lnTo>
                <a:lnTo>
                  <a:pt x="4666" y="291"/>
                </a:lnTo>
                <a:lnTo>
                  <a:pt x="4667" y="288"/>
                </a:lnTo>
                <a:lnTo>
                  <a:pt x="4667" y="286"/>
                </a:lnTo>
                <a:lnTo>
                  <a:pt x="4667" y="283"/>
                </a:lnTo>
                <a:lnTo>
                  <a:pt x="4668" y="282"/>
                </a:lnTo>
                <a:lnTo>
                  <a:pt x="4669" y="277"/>
                </a:lnTo>
                <a:lnTo>
                  <a:pt x="4678" y="253"/>
                </a:lnTo>
                <a:lnTo>
                  <a:pt x="4679" y="250"/>
                </a:lnTo>
                <a:lnTo>
                  <a:pt x="4680" y="247"/>
                </a:lnTo>
                <a:lnTo>
                  <a:pt x="4681" y="244"/>
                </a:lnTo>
                <a:lnTo>
                  <a:pt x="4681" y="243"/>
                </a:lnTo>
                <a:lnTo>
                  <a:pt x="4683" y="241"/>
                </a:lnTo>
                <a:lnTo>
                  <a:pt x="4684" y="238"/>
                </a:lnTo>
                <a:lnTo>
                  <a:pt x="4685" y="235"/>
                </a:lnTo>
                <a:lnTo>
                  <a:pt x="4686" y="232"/>
                </a:lnTo>
                <a:lnTo>
                  <a:pt x="4687" y="230"/>
                </a:lnTo>
                <a:lnTo>
                  <a:pt x="4689" y="227"/>
                </a:lnTo>
                <a:lnTo>
                  <a:pt x="4690" y="225"/>
                </a:lnTo>
                <a:lnTo>
                  <a:pt x="4691" y="224"/>
                </a:lnTo>
                <a:lnTo>
                  <a:pt x="4693" y="221"/>
                </a:lnTo>
                <a:lnTo>
                  <a:pt x="4693" y="219"/>
                </a:lnTo>
                <a:lnTo>
                  <a:pt x="4696" y="216"/>
                </a:lnTo>
                <a:lnTo>
                  <a:pt x="4696" y="214"/>
                </a:lnTo>
                <a:lnTo>
                  <a:pt x="4698" y="211"/>
                </a:lnTo>
                <a:lnTo>
                  <a:pt x="4699" y="209"/>
                </a:lnTo>
                <a:lnTo>
                  <a:pt x="4701" y="208"/>
                </a:lnTo>
                <a:lnTo>
                  <a:pt x="4702" y="206"/>
                </a:lnTo>
                <a:lnTo>
                  <a:pt x="4703" y="205"/>
                </a:lnTo>
                <a:lnTo>
                  <a:pt x="4704" y="203"/>
                </a:lnTo>
                <a:lnTo>
                  <a:pt x="4705" y="202"/>
                </a:lnTo>
                <a:lnTo>
                  <a:pt x="4707" y="200"/>
                </a:lnTo>
                <a:lnTo>
                  <a:pt x="4709" y="197"/>
                </a:lnTo>
                <a:lnTo>
                  <a:pt x="4710" y="194"/>
                </a:lnTo>
                <a:lnTo>
                  <a:pt x="4712" y="193"/>
                </a:lnTo>
                <a:lnTo>
                  <a:pt x="4718" y="188"/>
                </a:lnTo>
                <a:lnTo>
                  <a:pt x="4720" y="185"/>
                </a:lnTo>
                <a:lnTo>
                  <a:pt x="4725" y="180"/>
                </a:lnTo>
                <a:lnTo>
                  <a:pt x="4730" y="175"/>
                </a:lnTo>
                <a:lnTo>
                  <a:pt x="4733" y="171"/>
                </a:lnTo>
                <a:lnTo>
                  <a:pt x="4737" y="169"/>
                </a:lnTo>
                <a:lnTo>
                  <a:pt x="4739" y="167"/>
                </a:lnTo>
                <a:lnTo>
                  <a:pt x="4741" y="165"/>
                </a:lnTo>
                <a:lnTo>
                  <a:pt x="4743" y="165"/>
                </a:lnTo>
                <a:lnTo>
                  <a:pt x="4744" y="164"/>
                </a:lnTo>
                <a:lnTo>
                  <a:pt x="4747" y="163"/>
                </a:lnTo>
                <a:lnTo>
                  <a:pt x="4748" y="161"/>
                </a:lnTo>
                <a:lnTo>
                  <a:pt x="4750" y="160"/>
                </a:lnTo>
                <a:lnTo>
                  <a:pt x="4751" y="159"/>
                </a:lnTo>
                <a:lnTo>
                  <a:pt x="4754" y="158"/>
                </a:lnTo>
                <a:lnTo>
                  <a:pt x="4757" y="155"/>
                </a:lnTo>
                <a:lnTo>
                  <a:pt x="4782" y="144"/>
                </a:lnTo>
                <a:lnTo>
                  <a:pt x="4786" y="143"/>
                </a:lnTo>
                <a:lnTo>
                  <a:pt x="4812" y="134"/>
                </a:lnTo>
                <a:lnTo>
                  <a:pt x="4818" y="134"/>
                </a:lnTo>
                <a:lnTo>
                  <a:pt x="4823" y="133"/>
                </a:lnTo>
                <a:lnTo>
                  <a:pt x="4828" y="132"/>
                </a:lnTo>
                <a:lnTo>
                  <a:pt x="4832" y="131"/>
                </a:lnTo>
                <a:lnTo>
                  <a:pt x="4836" y="131"/>
                </a:lnTo>
                <a:lnTo>
                  <a:pt x="4841" y="131"/>
                </a:lnTo>
                <a:lnTo>
                  <a:pt x="4847" y="130"/>
                </a:lnTo>
                <a:lnTo>
                  <a:pt x="4865" y="128"/>
                </a:lnTo>
                <a:lnTo>
                  <a:pt x="4870" y="128"/>
                </a:lnTo>
                <a:lnTo>
                  <a:pt x="4876" y="127"/>
                </a:lnTo>
                <a:lnTo>
                  <a:pt x="4888" y="128"/>
                </a:lnTo>
                <a:lnTo>
                  <a:pt x="4907" y="128"/>
                </a:lnTo>
                <a:lnTo>
                  <a:pt x="4915" y="130"/>
                </a:lnTo>
                <a:lnTo>
                  <a:pt x="4919" y="130"/>
                </a:lnTo>
                <a:lnTo>
                  <a:pt x="4924" y="131"/>
                </a:lnTo>
                <a:lnTo>
                  <a:pt x="4928" y="131"/>
                </a:lnTo>
                <a:lnTo>
                  <a:pt x="4933" y="132"/>
                </a:lnTo>
                <a:lnTo>
                  <a:pt x="4935" y="132"/>
                </a:lnTo>
                <a:lnTo>
                  <a:pt x="4939" y="133"/>
                </a:lnTo>
                <a:lnTo>
                  <a:pt x="4941" y="133"/>
                </a:lnTo>
                <a:lnTo>
                  <a:pt x="4946" y="134"/>
                </a:lnTo>
                <a:lnTo>
                  <a:pt x="4952" y="136"/>
                </a:lnTo>
                <a:lnTo>
                  <a:pt x="4956" y="137"/>
                </a:lnTo>
                <a:lnTo>
                  <a:pt x="4959" y="138"/>
                </a:lnTo>
                <a:lnTo>
                  <a:pt x="4962" y="138"/>
                </a:lnTo>
                <a:lnTo>
                  <a:pt x="4963" y="139"/>
                </a:lnTo>
                <a:lnTo>
                  <a:pt x="4965" y="139"/>
                </a:lnTo>
                <a:lnTo>
                  <a:pt x="4969" y="141"/>
                </a:lnTo>
                <a:lnTo>
                  <a:pt x="4973" y="143"/>
                </a:lnTo>
                <a:lnTo>
                  <a:pt x="4976" y="144"/>
                </a:lnTo>
                <a:lnTo>
                  <a:pt x="4979" y="145"/>
                </a:lnTo>
                <a:lnTo>
                  <a:pt x="4981" y="147"/>
                </a:lnTo>
                <a:lnTo>
                  <a:pt x="4985" y="148"/>
                </a:lnTo>
                <a:lnTo>
                  <a:pt x="4987" y="149"/>
                </a:lnTo>
                <a:lnTo>
                  <a:pt x="4990" y="150"/>
                </a:lnTo>
                <a:lnTo>
                  <a:pt x="4992" y="152"/>
                </a:lnTo>
                <a:lnTo>
                  <a:pt x="4996" y="154"/>
                </a:lnTo>
                <a:lnTo>
                  <a:pt x="4999" y="155"/>
                </a:lnTo>
                <a:lnTo>
                  <a:pt x="5000" y="156"/>
                </a:lnTo>
                <a:lnTo>
                  <a:pt x="5002" y="158"/>
                </a:lnTo>
                <a:lnTo>
                  <a:pt x="5004" y="159"/>
                </a:lnTo>
                <a:lnTo>
                  <a:pt x="5005" y="160"/>
                </a:lnTo>
                <a:lnTo>
                  <a:pt x="5006" y="163"/>
                </a:lnTo>
                <a:lnTo>
                  <a:pt x="5009" y="164"/>
                </a:lnTo>
                <a:lnTo>
                  <a:pt x="5011" y="165"/>
                </a:lnTo>
                <a:lnTo>
                  <a:pt x="5015" y="167"/>
                </a:lnTo>
                <a:lnTo>
                  <a:pt x="5019" y="171"/>
                </a:lnTo>
                <a:lnTo>
                  <a:pt x="5022" y="175"/>
                </a:lnTo>
                <a:lnTo>
                  <a:pt x="5032" y="183"/>
                </a:lnTo>
                <a:lnTo>
                  <a:pt x="5035" y="188"/>
                </a:lnTo>
                <a:lnTo>
                  <a:pt x="5038" y="191"/>
                </a:lnTo>
                <a:lnTo>
                  <a:pt x="5040" y="194"/>
                </a:lnTo>
                <a:lnTo>
                  <a:pt x="5042" y="195"/>
                </a:lnTo>
                <a:lnTo>
                  <a:pt x="5043" y="198"/>
                </a:lnTo>
                <a:lnTo>
                  <a:pt x="5044" y="200"/>
                </a:lnTo>
                <a:lnTo>
                  <a:pt x="5045" y="202"/>
                </a:lnTo>
                <a:lnTo>
                  <a:pt x="5046" y="204"/>
                </a:lnTo>
                <a:lnTo>
                  <a:pt x="5048" y="206"/>
                </a:lnTo>
                <a:lnTo>
                  <a:pt x="5049" y="208"/>
                </a:lnTo>
                <a:lnTo>
                  <a:pt x="5050" y="209"/>
                </a:lnTo>
                <a:lnTo>
                  <a:pt x="5051" y="211"/>
                </a:lnTo>
                <a:lnTo>
                  <a:pt x="5052" y="214"/>
                </a:lnTo>
                <a:lnTo>
                  <a:pt x="5054" y="215"/>
                </a:lnTo>
                <a:lnTo>
                  <a:pt x="5055" y="217"/>
                </a:lnTo>
                <a:lnTo>
                  <a:pt x="5056" y="221"/>
                </a:lnTo>
                <a:lnTo>
                  <a:pt x="5060" y="228"/>
                </a:lnTo>
                <a:lnTo>
                  <a:pt x="5062" y="233"/>
                </a:lnTo>
                <a:lnTo>
                  <a:pt x="5063" y="236"/>
                </a:lnTo>
                <a:lnTo>
                  <a:pt x="5064" y="238"/>
                </a:lnTo>
                <a:lnTo>
                  <a:pt x="5066" y="242"/>
                </a:lnTo>
                <a:lnTo>
                  <a:pt x="5067" y="244"/>
                </a:lnTo>
                <a:lnTo>
                  <a:pt x="5068" y="248"/>
                </a:lnTo>
                <a:lnTo>
                  <a:pt x="5068" y="249"/>
                </a:lnTo>
                <a:lnTo>
                  <a:pt x="5069" y="252"/>
                </a:lnTo>
                <a:lnTo>
                  <a:pt x="5069" y="253"/>
                </a:lnTo>
                <a:lnTo>
                  <a:pt x="5072" y="258"/>
                </a:lnTo>
                <a:lnTo>
                  <a:pt x="5072" y="260"/>
                </a:lnTo>
                <a:lnTo>
                  <a:pt x="5073" y="261"/>
                </a:lnTo>
                <a:lnTo>
                  <a:pt x="5073" y="264"/>
                </a:lnTo>
                <a:lnTo>
                  <a:pt x="5073" y="265"/>
                </a:lnTo>
                <a:lnTo>
                  <a:pt x="5074" y="269"/>
                </a:lnTo>
                <a:lnTo>
                  <a:pt x="5075" y="274"/>
                </a:lnTo>
                <a:lnTo>
                  <a:pt x="5077" y="276"/>
                </a:lnTo>
                <a:lnTo>
                  <a:pt x="5077" y="278"/>
                </a:lnTo>
                <a:lnTo>
                  <a:pt x="5078" y="281"/>
                </a:lnTo>
                <a:lnTo>
                  <a:pt x="5078" y="282"/>
                </a:lnTo>
                <a:lnTo>
                  <a:pt x="5079" y="288"/>
                </a:lnTo>
                <a:lnTo>
                  <a:pt x="5081" y="297"/>
                </a:lnTo>
                <a:lnTo>
                  <a:pt x="5083" y="303"/>
                </a:lnTo>
                <a:lnTo>
                  <a:pt x="5083" y="307"/>
                </a:lnTo>
                <a:lnTo>
                  <a:pt x="5085" y="316"/>
                </a:lnTo>
                <a:lnTo>
                  <a:pt x="5087" y="336"/>
                </a:lnTo>
                <a:lnTo>
                  <a:pt x="5087" y="341"/>
                </a:lnTo>
                <a:lnTo>
                  <a:pt x="5087" y="347"/>
                </a:lnTo>
                <a:lnTo>
                  <a:pt x="5089" y="355"/>
                </a:lnTo>
                <a:lnTo>
                  <a:pt x="5090" y="370"/>
                </a:lnTo>
                <a:lnTo>
                  <a:pt x="5090" y="376"/>
                </a:lnTo>
                <a:lnTo>
                  <a:pt x="5090" y="407"/>
                </a:lnTo>
                <a:lnTo>
                  <a:pt x="5090" y="532"/>
                </a:lnTo>
                <a:close/>
                <a:moveTo>
                  <a:pt x="4430" y="142"/>
                </a:moveTo>
                <a:lnTo>
                  <a:pt x="4606" y="142"/>
                </a:lnTo>
                <a:lnTo>
                  <a:pt x="4606" y="587"/>
                </a:lnTo>
                <a:lnTo>
                  <a:pt x="4606" y="664"/>
                </a:lnTo>
                <a:lnTo>
                  <a:pt x="4606" y="687"/>
                </a:lnTo>
                <a:lnTo>
                  <a:pt x="4606" y="693"/>
                </a:lnTo>
                <a:lnTo>
                  <a:pt x="4606" y="700"/>
                </a:lnTo>
                <a:lnTo>
                  <a:pt x="4606" y="712"/>
                </a:lnTo>
                <a:lnTo>
                  <a:pt x="4605" y="720"/>
                </a:lnTo>
                <a:lnTo>
                  <a:pt x="4605" y="726"/>
                </a:lnTo>
                <a:lnTo>
                  <a:pt x="4604" y="731"/>
                </a:lnTo>
                <a:lnTo>
                  <a:pt x="4603" y="740"/>
                </a:lnTo>
                <a:lnTo>
                  <a:pt x="4602" y="747"/>
                </a:lnTo>
                <a:lnTo>
                  <a:pt x="4602" y="751"/>
                </a:lnTo>
                <a:lnTo>
                  <a:pt x="4597" y="767"/>
                </a:lnTo>
                <a:lnTo>
                  <a:pt x="4597" y="772"/>
                </a:lnTo>
                <a:lnTo>
                  <a:pt x="4595" y="775"/>
                </a:lnTo>
                <a:lnTo>
                  <a:pt x="4594" y="778"/>
                </a:lnTo>
                <a:lnTo>
                  <a:pt x="4594" y="779"/>
                </a:lnTo>
                <a:lnTo>
                  <a:pt x="4594" y="780"/>
                </a:lnTo>
                <a:lnTo>
                  <a:pt x="4593" y="782"/>
                </a:lnTo>
                <a:lnTo>
                  <a:pt x="4593" y="784"/>
                </a:lnTo>
                <a:lnTo>
                  <a:pt x="4591" y="790"/>
                </a:lnTo>
                <a:lnTo>
                  <a:pt x="4589" y="795"/>
                </a:lnTo>
                <a:lnTo>
                  <a:pt x="4588" y="796"/>
                </a:lnTo>
                <a:lnTo>
                  <a:pt x="4587" y="798"/>
                </a:lnTo>
                <a:lnTo>
                  <a:pt x="4586" y="801"/>
                </a:lnTo>
                <a:lnTo>
                  <a:pt x="4586" y="802"/>
                </a:lnTo>
                <a:lnTo>
                  <a:pt x="4583" y="806"/>
                </a:lnTo>
                <a:lnTo>
                  <a:pt x="4582" y="808"/>
                </a:lnTo>
                <a:lnTo>
                  <a:pt x="4581" y="811"/>
                </a:lnTo>
                <a:lnTo>
                  <a:pt x="4580" y="813"/>
                </a:lnTo>
                <a:lnTo>
                  <a:pt x="4580" y="815"/>
                </a:lnTo>
                <a:lnTo>
                  <a:pt x="4577" y="819"/>
                </a:lnTo>
                <a:lnTo>
                  <a:pt x="4576" y="822"/>
                </a:lnTo>
                <a:lnTo>
                  <a:pt x="4574" y="824"/>
                </a:lnTo>
                <a:lnTo>
                  <a:pt x="4573" y="825"/>
                </a:lnTo>
                <a:lnTo>
                  <a:pt x="4571" y="828"/>
                </a:lnTo>
                <a:lnTo>
                  <a:pt x="4570" y="829"/>
                </a:lnTo>
                <a:lnTo>
                  <a:pt x="4569" y="831"/>
                </a:lnTo>
                <a:lnTo>
                  <a:pt x="4568" y="833"/>
                </a:lnTo>
                <a:lnTo>
                  <a:pt x="4566" y="834"/>
                </a:lnTo>
                <a:lnTo>
                  <a:pt x="4565" y="836"/>
                </a:lnTo>
                <a:lnTo>
                  <a:pt x="4564" y="839"/>
                </a:lnTo>
                <a:lnTo>
                  <a:pt x="4563" y="840"/>
                </a:lnTo>
                <a:lnTo>
                  <a:pt x="4559" y="844"/>
                </a:lnTo>
                <a:lnTo>
                  <a:pt x="4552" y="851"/>
                </a:lnTo>
                <a:lnTo>
                  <a:pt x="4545" y="859"/>
                </a:lnTo>
                <a:lnTo>
                  <a:pt x="4541" y="862"/>
                </a:lnTo>
                <a:lnTo>
                  <a:pt x="4537" y="864"/>
                </a:lnTo>
                <a:lnTo>
                  <a:pt x="4535" y="867"/>
                </a:lnTo>
                <a:lnTo>
                  <a:pt x="4533" y="868"/>
                </a:lnTo>
                <a:lnTo>
                  <a:pt x="4531" y="869"/>
                </a:lnTo>
                <a:lnTo>
                  <a:pt x="4529" y="870"/>
                </a:lnTo>
                <a:lnTo>
                  <a:pt x="4527" y="873"/>
                </a:lnTo>
                <a:lnTo>
                  <a:pt x="4524" y="873"/>
                </a:lnTo>
                <a:lnTo>
                  <a:pt x="4522" y="875"/>
                </a:lnTo>
                <a:lnTo>
                  <a:pt x="4521" y="876"/>
                </a:lnTo>
                <a:lnTo>
                  <a:pt x="4517" y="878"/>
                </a:lnTo>
                <a:lnTo>
                  <a:pt x="4516" y="879"/>
                </a:lnTo>
                <a:lnTo>
                  <a:pt x="4513" y="880"/>
                </a:lnTo>
                <a:lnTo>
                  <a:pt x="4511" y="883"/>
                </a:lnTo>
                <a:lnTo>
                  <a:pt x="4508" y="883"/>
                </a:lnTo>
                <a:lnTo>
                  <a:pt x="4505" y="885"/>
                </a:lnTo>
                <a:lnTo>
                  <a:pt x="4502" y="885"/>
                </a:lnTo>
                <a:lnTo>
                  <a:pt x="4499" y="887"/>
                </a:lnTo>
                <a:lnTo>
                  <a:pt x="4498" y="887"/>
                </a:lnTo>
                <a:lnTo>
                  <a:pt x="4495" y="889"/>
                </a:lnTo>
                <a:lnTo>
                  <a:pt x="4493" y="890"/>
                </a:lnTo>
                <a:lnTo>
                  <a:pt x="4490" y="891"/>
                </a:lnTo>
                <a:lnTo>
                  <a:pt x="4485" y="892"/>
                </a:lnTo>
                <a:lnTo>
                  <a:pt x="4481" y="895"/>
                </a:lnTo>
                <a:lnTo>
                  <a:pt x="4479" y="895"/>
                </a:lnTo>
                <a:lnTo>
                  <a:pt x="4478" y="896"/>
                </a:lnTo>
                <a:lnTo>
                  <a:pt x="4476" y="896"/>
                </a:lnTo>
                <a:lnTo>
                  <a:pt x="4473" y="897"/>
                </a:lnTo>
                <a:lnTo>
                  <a:pt x="4472" y="897"/>
                </a:lnTo>
                <a:lnTo>
                  <a:pt x="4470" y="897"/>
                </a:lnTo>
                <a:lnTo>
                  <a:pt x="4465" y="898"/>
                </a:lnTo>
                <a:lnTo>
                  <a:pt x="4464" y="900"/>
                </a:lnTo>
                <a:lnTo>
                  <a:pt x="4461" y="900"/>
                </a:lnTo>
                <a:lnTo>
                  <a:pt x="4456" y="901"/>
                </a:lnTo>
                <a:lnTo>
                  <a:pt x="4454" y="902"/>
                </a:lnTo>
                <a:lnTo>
                  <a:pt x="4450" y="902"/>
                </a:lnTo>
                <a:lnTo>
                  <a:pt x="4448" y="903"/>
                </a:lnTo>
                <a:lnTo>
                  <a:pt x="4446" y="903"/>
                </a:lnTo>
                <a:lnTo>
                  <a:pt x="4442" y="905"/>
                </a:lnTo>
                <a:lnTo>
                  <a:pt x="4435" y="906"/>
                </a:lnTo>
                <a:lnTo>
                  <a:pt x="4431" y="906"/>
                </a:lnTo>
                <a:lnTo>
                  <a:pt x="4426" y="907"/>
                </a:lnTo>
                <a:lnTo>
                  <a:pt x="4421" y="907"/>
                </a:lnTo>
                <a:lnTo>
                  <a:pt x="4418" y="908"/>
                </a:lnTo>
                <a:lnTo>
                  <a:pt x="4412" y="908"/>
                </a:lnTo>
                <a:lnTo>
                  <a:pt x="4405" y="909"/>
                </a:lnTo>
                <a:lnTo>
                  <a:pt x="4395" y="909"/>
                </a:lnTo>
                <a:lnTo>
                  <a:pt x="4391" y="909"/>
                </a:lnTo>
                <a:lnTo>
                  <a:pt x="4388" y="911"/>
                </a:lnTo>
                <a:lnTo>
                  <a:pt x="4380" y="911"/>
                </a:lnTo>
                <a:lnTo>
                  <a:pt x="4354" y="911"/>
                </a:lnTo>
                <a:lnTo>
                  <a:pt x="4343" y="911"/>
                </a:lnTo>
                <a:lnTo>
                  <a:pt x="4338" y="911"/>
                </a:lnTo>
                <a:lnTo>
                  <a:pt x="4333" y="909"/>
                </a:lnTo>
                <a:lnTo>
                  <a:pt x="4317" y="909"/>
                </a:lnTo>
                <a:lnTo>
                  <a:pt x="4311" y="909"/>
                </a:lnTo>
                <a:lnTo>
                  <a:pt x="4305" y="909"/>
                </a:lnTo>
                <a:lnTo>
                  <a:pt x="4296" y="908"/>
                </a:lnTo>
                <a:lnTo>
                  <a:pt x="4293" y="908"/>
                </a:lnTo>
                <a:lnTo>
                  <a:pt x="4287" y="908"/>
                </a:lnTo>
                <a:lnTo>
                  <a:pt x="4279" y="907"/>
                </a:lnTo>
                <a:lnTo>
                  <a:pt x="4272" y="907"/>
                </a:lnTo>
                <a:lnTo>
                  <a:pt x="4266" y="906"/>
                </a:lnTo>
                <a:lnTo>
                  <a:pt x="4259" y="906"/>
                </a:lnTo>
                <a:lnTo>
                  <a:pt x="4253" y="905"/>
                </a:lnTo>
                <a:lnTo>
                  <a:pt x="4247" y="905"/>
                </a:lnTo>
                <a:lnTo>
                  <a:pt x="4243" y="903"/>
                </a:lnTo>
                <a:lnTo>
                  <a:pt x="4238" y="903"/>
                </a:lnTo>
                <a:lnTo>
                  <a:pt x="4233" y="902"/>
                </a:lnTo>
                <a:lnTo>
                  <a:pt x="4228" y="901"/>
                </a:lnTo>
                <a:lnTo>
                  <a:pt x="4218" y="901"/>
                </a:lnTo>
                <a:lnTo>
                  <a:pt x="4207" y="898"/>
                </a:lnTo>
                <a:lnTo>
                  <a:pt x="4201" y="898"/>
                </a:lnTo>
                <a:lnTo>
                  <a:pt x="4197" y="897"/>
                </a:lnTo>
                <a:lnTo>
                  <a:pt x="4193" y="897"/>
                </a:lnTo>
                <a:lnTo>
                  <a:pt x="4187" y="895"/>
                </a:lnTo>
                <a:lnTo>
                  <a:pt x="4181" y="894"/>
                </a:lnTo>
                <a:lnTo>
                  <a:pt x="4177" y="894"/>
                </a:lnTo>
                <a:lnTo>
                  <a:pt x="4172" y="892"/>
                </a:lnTo>
                <a:lnTo>
                  <a:pt x="4166" y="891"/>
                </a:lnTo>
                <a:lnTo>
                  <a:pt x="4170" y="746"/>
                </a:lnTo>
                <a:lnTo>
                  <a:pt x="4183" y="748"/>
                </a:lnTo>
                <a:lnTo>
                  <a:pt x="4188" y="748"/>
                </a:lnTo>
                <a:lnTo>
                  <a:pt x="4194" y="750"/>
                </a:lnTo>
                <a:lnTo>
                  <a:pt x="4200" y="751"/>
                </a:lnTo>
                <a:lnTo>
                  <a:pt x="4204" y="751"/>
                </a:lnTo>
                <a:lnTo>
                  <a:pt x="4210" y="752"/>
                </a:lnTo>
                <a:lnTo>
                  <a:pt x="4216" y="752"/>
                </a:lnTo>
                <a:lnTo>
                  <a:pt x="4222" y="753"/>
                </a:lnTo>
                <a:lnTo>
                  <a:pt x="4228" y="754"/>
                </a:lnTo>
                <a:lnTo>
                  <a:pt x="4239" y="754"/>
                </a:lnTo>
                <a:lnTo>
                  <a:pt x="4244" y="756"/>
                </a:lnTo>
                <a:lnTo>
                  <a:pt x="4250" y="756"/>
                </a:lnTo>
                <a:lnTo>
                  <a:pt x="4256" y="757"/>
                </a:lnTo>
                <a:lnTo>
                  <a:pt x="4262" y="757"/>
                </a:lnTo>
                <a:lnTo>
                  <a:pt x="4269" y="758"/>
                </a:lnTo>
                <a:lnTo>
                  <a:pt x="4275" y="758"/>
                </a:lnTo>
                <a:lnTo>
                  <a:pt x="4284" y="759"/>
                </a:lnTo>
                <a:lnTo>
                  <a:pt x="4286" y="759"/>
                </a:lnTo>
                <a:lnTo>
                  <a:pt x="4292" y="759"/>
                </a:lnTo>
                <a:lnTo>
                  <a:pt x="4302" y="761"/>
                </a:lnTo>
                <a:lnTo>
                  <a:pt x="4305" y="761"/>
                </a:lnTo>
                <a:lnTo>
                  <a:pt x="4308" y="761"/>
                </a:lnTo>
                <a:lnTo>
                  <a:pt x="4314" y="762"/>
                </a:lnTo>
                <a:lnTo>
                  <a:pt x="4331" y="762"/>
                </a:lnTo>
                <a:lnTo>
                  <a:pt x="4351" y="762"/>
                </a:lnTo>
                <a:lnTo>
                  <a:pt x="4365" y="762"/>
                </a:lnTo>
                <a:lnTo>
                  <a:pt x="4372" y="761"/>
                </a:lnTo>
                <a:lnTo>
                  <a:pt x="4378" y="759"/>
                </a:lnTo>
                <a:lnTo>
                  <a:pt x="4384" y="757"/>
                </a:lnTo>
                <a:lnTo>
                  <a:pt x="4389" y="756"/>
                </a:lnTo>
                <a:lnTo>
                  <a:pt x="4398" y="751"/>
                </a:lnTo>
                <a:lnTo>
                  <a:pt x="4401" y="747"/>
                </a:lnTo>
                <a:lnTo>
                  <a:pt x="4405" y="743"/>
                </a:lnTo>
                <a:lnTo>
                  <a:pt x="4406" y="742"/>
                </a:lnTo>
                <a:lnTo>
                  <a:pt x="4406" y="740"/>
                </a:lnTo>
                <a:lnTo>
                  <a:pt x="4407" y="737"/>
                </a:lnTo>
                <a:lnTo>
                  <a:pt x="4409" y="735"/>
                </a:lnTo>
                <a:lnTo>
                  <a:pt x="4411" y="729"/>
                </a:lnTo>
                <a:lnTo>
                  <a:pt x="4412" y="726"/>
                </a:lnTo>
                <a:lnTo>
                  <a:pt x="4412" y="723"/>
                </a:lnTo>
                <a:lnTo>
                  <a:pt x="4413" y="719"/>
                </a:lnTo>
                <a:lnTo>
                  <a:pt x="4413" y="710"/>
                </a:lnTo>
                <a:lnTo>
                  <a:pt x="4413" y="693"/>
                </a:lnTo>
                <a:lnTo>
                  <a:pt x="4413" y="641"/>
                </a:lnTo>
                <a:lnTo>
                  <a:pt x="4406" y="648"/>
                </a:lnTo>
                <a:lnTo>
                  <a:pt x="4400" y="654"/>
                </a:lnTo>
                <a:lnTo>
                  <a:pt x="4395" y="658"/>
                </a:lnTo>
                <a:lnTo>
                  <a:pt x="4391" y="660"/>
                </a:lnTo>
                <a:lnTo>
                  <a:pt x="4389" y="663"/>
                </a:lnTo>
                <a:lnTo>
                  <a:pt x="4386" y="664"/>
                </a:lnTo>
                <a:lnTo>
                  <a:pt x="4385" y="665"/>
                </a:lnTo>
                <a:lnTo>
                  <a:pt x="4383" y="667"/>
                </a:lnTo>
                <a:lnTo>
                  <a:pt x="4382" y="668"/>
                </a:lnTo>
                <a:lnTo>
                  <a:pt x="4380" y="669"/>
                </a:lnTo>
                <a:lnTo>
                  <a:pt x="4378" y="670"/>
                </a:lnTo>
                <a:lnTo>
                  <a:pt x="4377" y="671"/>
                </a:lnTo>
                <a:lnTo>
                  <a:pt x="4374" y="673"/>
                </a:lnTo>
                <a:lnTo>
                  <a:pt x="4372" y="674"/>
                </a:lnTo>
                <a:lnTo>
                  <a:pt x="4368" y="676"/>
                </a:lnTo>
                <a:lnTo>
                  <a:pt x="4367" y="678"/>
                </a:lnTo>
                <a:lnTo>
                  <a:pt x="4365" y="678"/>
                </a:lnTo>
                <a:lnTo>
                  <a:pt x="4362" y="679"/>
                </a:lnTo>
                <a:lnTo>
                  <a:pt x="4357" y="681"/>
                </a:lnTo>
                <a:lnTo>
                  <a:pt x="4355" y="682"/>
                </a:lnTo>
                <a:lnTo>
                  <a:pt x="4350" y="685"/>
                </a:lnTo>
                <a:lnTo>
                  <a:pt x="4344" y="687"/>
                </a:lnTo>
                <a:lnTo>
                  <a:pt x="4342" y="687"/>
                </a:lnTo>
                <a:lnTo>
                  <a:pt x="4339" y="689"/>
                </a:lnTo>
                <a:lnTo>
                  <a:pt x="4337" y="689"/>
                </a:lnTo>
                <a:lnTo>
                  <a:pt x="4334" y="690"/>
                </a:lnTo>
                <a:lnTo>
                  <a:pt x="4333" y="690"/>
                </a:lnTo>
                <a:lnTo>
                  <a:pt x="4330" y="691"/>
                </a:lnTo>
                <a:lnTo>
                  <a:pt x="4326" y="691"/>
                </a:lnTo>
                <a:lnTo>
                  <a:pt x="4322" y="692"/>
                </a:lnTo>
                <a:lnTo>
                  <a:pt x="4310" y="692"/>
                </a:lnTo>
                <a:lnTo>
                  <a:pt x="4305" y="693"/>
                </a:lnTo>
                <a:lnTo>
                  <a:pt x="4298" y="693"/>
                </a:lnTo>
                <a:lnTo>
                  <a:pt x="4291" y="693"/>
                </a:lnTo>
                <a:lnTo>
                  <a:pt x="4286" y="692"/>
                </a:lnTo>
                <a:lnTo>
                  <a:pt x="4278" y="692"/>
                </a:lnTo>
                <a:lnTo>
                  <a:pt x="4273" y="692"/>
                </a:lnTo>
                <a:lnTo>
                  <a:pt x="4251" y="689"/>
                </a:lnTo>
                <a:lnTo>
                  <a:pt x="4237" y="684"/>
                </a:lnTo>
                <a:lnTo>
                  <a:pt x="4234" y="682"/>
                </a:lnTo>
                <a:lnTo>
                  <a:pt x="4232" y="681"/>
                </a:lnTo>
                <a:lnTo>
                  <a:pt x="4230" y="680"/>
                </a:lnTo>
                <a:lnTo>
                  <a:pt x="4228" y="679"/>
                </a:lnTo>
                <a:lnTo>
                  <a:pt x="4226" y="678"/>
                </a:lnTo>
                <a:lnTo>
                  <a:pt x="4221" y="676"/>
                </a:lnTo>
                <a:lnTo>
                  <a:pt x="4220" y="675"/>
                </a:lnTo>
                <a:lnTo>
                  <a:pt x="4217" y="673"/>
                </a:lnTo>
                <a:lnTo>
                  <a:pt x="4216" y="671"/>
                </a:lnTo>
                <a:lnTo>
                  <a:pt x="4214" y="670"/>
                </a:lnTo>
                <a:lnTo>
                  <a:pt x="4211" y="668"/>
                </a:lnTo>
                <a:lnTo>
                  <a:pt x="4207" y="665"/>
                </a:lnTo>
                <a:lnTo>
                  <a:pt x="4201" y="659"/>
                </a:lnTo>
                <a:lnTo>
                  <a:pt x="4195" y="654"/>
                </a:lnTo>
                <a:lnTo>
                  <a:pt x="4193" y="651"/>
                </a:lnTo>
                <a:lnTo>
                  <a:pt x="4191" y="648"/>
                </a:lnTo>
                <a:lnTo>
                  <a:pt x="4189" y="646"/>
                </a:lnTo>
                <a:lnTo>
                  <a:pt x="4188" y="645"/>
                </a:lnTo>
                <a:lnTo>
                  <a:pt x="4188" y="642"/>
                </a:lnTo>
                <a:lnTo>
                  <a:pt x="4186" y="641"/>
                </a:lnTo>
                <a:lnTo>
                  <a:pt x="4185" y="638"/>
                </a:lnTo>
                <a:lnTo>
                  <a:pt x="4185" y="636"/>
                </a:lnTo>
                <a:lnTo>
                  <a:pt x="4183" y="635"/>
                </a:lnTo>
                <a:lnTo>
                  <a:pt x="4182" y="632"/>
                </a:lnTo>
                <a:lnTo>
                  <a:pt x="4180" y="631"/>
                </a:lnTo>
                <a:lnTo>
                  <a:pt x="4180" y="629"/>
                </a:lnTo>
                <a:lnTo>
                  <a:pt x="4177" y="625"/>
                </a:lnTo>
                <a:lnTo>
                  <a:pt x="4177" y="623"/>
                </a:lnTo>
                <a:lnTo>
                  <a:pt x="4175" y="619"/>
                </a:lnTo>
                <a:lnTo>
                  <a:pt x="4175" y="618"/>
                </a:lnTo>
                <a:lnTo>
                  <a:pt x="4174" y="615"/>
                </a:lnTo>
                <a:lnTo>
                  <a:pt x="4172" y="612"/>
                </a:lnTo>
                <a:lnTo>
                  <a:pt x="4171" y="607"/>
                </a:lnTo>
                <a:lnTo>
                  <a:pt x="4170" y="606"/>
                </a:lnTo>
                <a:lnTo>
                  <a:pt x="4170" y="604"/>
                </a:lnTo>
                <a:lnTo>
                  <a:pt x="4169" y="602"/>
                </a:lnTo>
                <a:lnTo>
                  <a:pt x="4169" y="601"/>
                </a:lnTo>
                <a:lnTo>
                  <a:pt x="4166" y="595"/>
                </a:lnTo>
                <a:lnTo>
                  <a:pt x="4166" y="592"/>
                </a:lnTo>
                <a:lnTo>
                  <a:pt x="4164" y="586"/>
                </a:lnTo>
                <a:lnTo>
                  <a:pt x="4163" y="579"/>
                </a:lnTo>
                <a:lnTo>
                  <a:pt x="4162" y="573"/>
                </a:lnTo>
                <a:lnTo>
                  <a:pt x="4159" y="564"/>
                </a:lnTo>
                <a:lnTo>
                  <a:pt x="4159" y="560"/>
                </a:lnTo>
                <a:lnTo>
                  <a:pt x="4159" y="557"/>
                </a:lnTo>
                <a:lnTo>
                  <a:pt x="4158" y="553"/>
                </a:lnTo>
                <a:lnTo>
                  <a:pt x="4157" y="538"/>
                </a:lnTo>
                <a:lnTo>
                  <a:pt x="4156" y="534"/>
                </a:lnTo>
                <a:lnTo>
                  <a:pt x="4156" y="527"/>
                </a:lnTo>
                <a:lnTo>
                  <a:pt x="4154" y="520"/>
                </a:lnTo>
                <a:lnTo>
                  <a:pt x="4154" y="512"/>
                </a:lnTo>
                <a:lnTo>
                  <a:pt x="4153" y="502"/>
                </a:lnTo>
                <a:lnTo>
                  <a:pt x="4153" y="485"/>
                </a:lnTo>
                <a:lnTo>
                  <a:pt x="4152" y="452"/>
                </a:lnTo>
                <a:lnTo>
                  <a:pt x="4152" y="382"/>
                </a:lnTo>
                <a:lnTo>
                  <a:pt x="4152" y="352"/>
                </a:lnTo>
                <a:lnTo>
                  <a:pt x="4152" y="343"/>
                </a:lnTo>
                <a:lnTo>
                  <a:pt x="4152" y="339"/>
                </a:lnTo>
                <a:lnTo>
                  <a:pt x="4153" y="336"/>
                </a:lnTo>
                <a:lnTo>
                  <a:pt x="4153" y="320"/>
                </a:lnTo>
                <a:lnTo>
                  <a:pt x="4153" y="309"/>
                </a:lnTo>
                <a:lnTo>
                  <a:pt x="4154" y="300"/>
                </a:lnTo>
                <a:lnTo>
                  <a:pt x="4154" y="293"/>
                </a:lnTo>
                <a:lnTo>
                  <a:pt x="4156" y="287"/>
                </a:lnTo>
                <a:lnTo>
                  <a:pt x="4157" y="277"/>
                </a:lnTo>
                <a:lnTo>
                  <a:pt x="4157" y="272"/>
                </a:lnTo>
                <a:lnTo>
                  <a:pt x="4158" y="267"/>
                </a:lnTo>
                <a:lnTo>
                  <a:pt x="4158" y="264"/>
                </a:lnTo>
                <a:lnTo>
                  <a:pt x="4159" y="260"/>
                </a:lnTo>
                <a:lnTo>
                  <a:pt x="4159" y="257"/>
                </a:lnTo>
                <a:lnTo>
                  <a:pt x="4159" y="254"/>
                </a:lnTo>
                <a:lnTo>
                  <a:pt x="4160" y="250"/>
                </a:lnTo>
                <a:lnTo>
                  <a:pt x="4160" y="248"/>
                </a:lnTo>
                <a:lnTo>
                  <a:pt x="4162" y="246"/>
                </a:lnTo>
                <a:lnTo>
                  <a:pt x="4162" y="242"/>
                </a:lnTo>
                <a:lnTo>
                  <a:pt x="4170" y="213"/>
                </a:lnTo>
                <a:lnTo>
                  <a:pt x="4172" y="209"/>
                </a:lnTo>
                <a:lnTo>
                  <a:pt x="4174" y="205"/>
                </a:lnTo>
                <a:lnTo>
                  <a:pt x="4174" y="203"/>
                </a:lnTo>
                <a:lnTo>
                  <a:pt x="4175" y="200"/>
                </a:lnTo>
                <a:lnTo>
                  <a:pt x="4176" y="197"/>
                </a:lnTo>
                <a:lnTo>
                  <a:pt x="4178" y="194"/>
                </a:lnTo>
                <a:lnTo>
                  <a:pt x="4181" y="189"/>
                </a:lnTo>
                <a:lnTo>
                  <a:pt x="4183" y="185"/>
                </a:lnTo>
                <a:lnTo>
                  <a:pt x="4185" y="183"/>
                </a:lnTo>
                <a:lnTo>
                  <a:pt x="4186" y="181"/>
                </a:lnTo>
                <a:lnTo>
                  <a:pt x="4187" y="180"/>
                </a:lnTo>
                <a:lnTo>
                  <a:pt x="4188" y="177"/>
                </a:lnTo>
                <a:lnTo>
                  <a:pt x="4189" y="175"/>
                </a:lnTo>
                <a:lnTo>
                  <a:pt x="4191" y="174"/>
                </a:lnTo>
                <a:lnTo>
                  <a:pt x="4193" y="171"/>
                </a:lnTo>
                <a:lnTo>
                  <a:pt x="4195" y="167"/>
                </a:lnTo>
                <a:lnTo>
                  <a:pt x="4201" y="163"/>
                </a:lnTo>
                <a:lnTo>
                  <a:pt x="4206" y="156"/>
                </a:lnTo>
                <a:lnTo>
                  <a:pt x="4209" y="154"/>
                </a:lnTo>
                <a:lnTo>
                  <a:pt x="4212" y="152"/>
                </a:lnTo>
                <a:lnTo>
                  <a:pt x="4214" y="150"/>
                </a:lnTo>
                <a:lnTo>
                  <a:pt x="4216" y="149"/>
                </a:lnTo>
                <a:lnTo>
                  <a:pt x="4217" y="148"/>
                </a:lnTo>
                <a:lnTo>
                  <a:pt x="4218" y="147"/>
                </a:lnTo>
                <a:lnTo>
                  <a:pt x="4221" y="145"/>
                </a:lnTo>
                <a:lnTo>
                  <a:pt x="4223" y="145"/>
                </a:lnTo>
                <a:lnTo>
                  <a:pt x="4226" y="144"/>
                </a:lnTo>
                <a:lnTo>
                  <a:pt x="4227" y="143"/>
                </a:lnTo>
                <a:lnTo>
                  <a:pt x="4230" y="142"/>
                </a:lnTo>
                <a:lnTo>
                  <a:pt x="4233" y="139"/>
                </a:lnTo>
                <a:lnTo>
                  <a:pt x="4235" y="139"/>
                </a:lnTo>
                <a:lnTo>
                  <a:pt x="4238" y="138"/>
                </a:lnTo>
                <a:lnTo>
                  <a:pt x="4258" y="132"/>
                </a:lnTo>
                <a:lnTo>
                  <a:pt x="4261" y="132"/>
                </a:lnTo>
                <a:lnTo>
                  <a:pt x="4264" y="131"/>
                </a:lnTo>
                <a:lnTo>
                  <a:pt x="4268" y="131"/>
                </a:lnTo>
                <a:lnTo>
                  <a:pt x="4273" y="130"/>
                </a:lnTo>
                <a:lnTo>
                  <a:pt x="4278" y="130"/>
                </a:lnTo>
                <a:lnTo>
                  <a:pt x="4286" y="128"/>
                </a:lnTo>
                <a:lnTo>
                  <a:pt x="4291" y="128"/>
                </a:lnTo>
                <a:lnTo>
                  <a:pt x="4297" y="127"/>
                </a:lnTo>
                <a:lnTo>
                  <a:pt x="4303" y="128"/>
                </a:lnTo>
                <a:lnTo>
                  <a:pt x="4308" y="128"/>
                </a:lnTo>
                <a:lnTo>
                  <a:pt x="4315" y="128"/>
                </a:lnTo>
                <a:lnTo>
                  <a:pt x="4319" y="130"/>
                </a:lnTo>
                <a:lnTo>
                  <a:pt x="4322" y="130"/>
                </a:lnTo>
                <a:lnTo>
                  <a:pt x="4326" y="131"/>
                </a:lnTo>
                <a:lnTo>
                  <a:pt x="4328" y="131"/>
                </a:lnTo>
                <a:lnTo>
                  <a:pt x="4350" y="137"/>
                </a:lnTo>
                <a:lnTo>
                  <a:pt x="4354" y="138"/>
                </a:lnTo>
                <a:lnTo>
                  <a:pt x="4356" y="139"/>
                </a:lnTo>
                <a:lnTo>
                  <a:pt x="4360" y="141"/>
                </a:lnTo>
                <a:lnTo>
                  <a:pt x="4362" y="142"/>
                </a:lnTo>
                <a:lnTo>
                  <a:pt x="4363" y="143"/>
                </a:lnTo>
                <a:lnTo>
                  <a:pt x="4367" y="144"/>
                </a:lnTo>
                <a:lnTo>
                  <a:pt x="4369" y="145"/>
                </a:lnTo>
                <a:lnTo>
                  <a:pt x="4372" y="147"/>
                </a:lnTo>
                <a:lnTo>
                  <a:pt x="4374" y="148"/>
                </a:lnTo>
                <a:lnTo>
                  <a:pt x="4377" y="149"/>
                </a:lnTo>
                <a:lnTo>
                  <a:pt x="4378" y="150"/>
                </a:lnTo>
                <a:lnTo>
                  <a:pt x="4382" y="152"/>
                </a:lnTo>
                <a:lnTo>
                  <a:pt x="4383" y="153"/>
                </a:lnTo>
                <a:lnTo>
                  <a:pt x="4385" y="155"/>
                </a:lnTo>
                <a:lnTo>
                  <a:pt x="4388" y="155"/>
                </a:lnTo>
                <a:lnTo>
                  <a:pt x="4389" y="156"/>
                </a:lnTo>
                <a:lnTo>
                  <a:pt x="4391" y="159"/>
                </a:lnTo>
                <a:lnTo>
                  <a:pt x="4394" y="160"/>
                </a:lnTo>
                <a:lnTo>
                  <a:pt x="4395" y="161"/>
                </a:lnTo>
                <a:lnTo>
                  <a:pt x="4397" y="163"/>
                </a:lnTo>
                <a:lnTo>
                  <a:pt x="4398" y="164"/>
                </a:lnTo>
                <a:lnTo>
                  <a:pt x="4400" y="165"/>
                </a:lnTo>
                <a:lnTo>
                  <a:pt x="4402" y="166"/>
                </a:lnTo>
                <a:lnTo>
                  <a:pt x="4405" y="169"/>
                </a:lnTo>
                <a:lnTo>
                  <a:pt x="4407" y="170"/>
                </a:lnTo>
                <a:lnTo>
                  <a:pt x="4409" y="172"/>
                </a:lnTo>
                <a:lnTo>
                  <a:pt x="4412" y="175"/>
                </a:lnTo>
                <a:lnTo>
                  <a:pt x="4415" y="177"/>
                </a:lnTo>
                <a:lnTo>
                  <a:pt x="4417" y="178"/>
                </a:lnTo>
                <a:lnTo>
                  <a:pt x="4420" y="180"/>
                </a:lnTo>
                <a:lnTo>
                  <a:pt x="4420" y="175"/>
                </a:lnTo>
                <a:lnTo>
                  <a:pt x="4421" y="172"/>
                </a:lnTo>
                <a:lnTo>
                  <a:pt x="4421" y="170"/>
                </a:lnTo>
                <a:lnTo>
                  <a:pt x="4423" y="167"/>
                </a:lnTo>
                <a:lnTo>
                  <a:pt x="4423" y="165"/>
                </a:lnTo>
                <a:lnTo>
                  <a:pt x="4424" y="164"/>
                </a:lnTo>
                <a:lnTo>
                  <a:pt x="4424" y="161"/>
                </a:lnTo>
                <a:lnTo>
                  <a:pt x="4425" y="156"/>
                </a:lnTo>
                <a:lnTo>
                  <a:pt x="4426" y="152"/>
                </a:lnTo>
                <a:lnTo>
                  <a:pt x="4430" y="142"/>
                </a:lnTo>
                <a:close/>
                <a:moveTo>
                  <a:pt x="3765" y="532"/>
                </a:moveTo>
                <a:lnTo>
                  <a:pt x="3520" y="532"/>
                </a:lnTo>
                <a:lnTo>
                  <a:pt x="3520" y="566"/>
                </a:lnTo>
                <a:lnTo>
                  <a:pt x="3520" y="575"/>
                </a:lnTo>
                <a:lnTo>
                  <a:pt x="3520" y="580"/>
                </a:lnTo>
                <a:lnTo>
                  <a:pt x="3521" y="584"/>
                </a:lnTo>
                <a:lnTo>
                  <a:pt x="3521" y="591"/>
                </a:lnTo>
                <a:lnTo>
                  <a:pt x="3521" y="596"/>
                </a:lnTo>
                <a:lnTo>
                  <a:pt x="3521" y="599"/>
                </a:lnTo>
                <a:lnTo>
                  <a:pt x="3522" y="602"/>
                </a:lnTo>
                <a:lnTo>
                  <a:pt x="3527" y="617"/>
                </a:lnTo>
                <a:lnTo>
                  <a:pt x="3529" y="619"/>
                </a:lnTo>
                <a:lnTo>
                  <a:pt x="3531" y="621"/>
                </a:lnTo>
                <a:lnTo>
                  <a:pt x="3532" y="623"/>
                </a:lnTo>
                <a:lnTo>
                  <a:pt x="3537" y="629"/>
                </a:lnTo>
                <a:lnTo>
                  <a:pt x="3538" y="630"/>
                </a:lnTo>
                <a:lnTo>
                  <a:pt x="3540" y="631"/>
                </a:lnTo>
                <a:lnTo>
                  <a:pt x="3542" y="632"/>
                </a:lnTo>
                <a:lnTo>
                  <a:pt x="3544" y="634"/>
                </a:lnTo>
                <a:lnTo>
                  <a:pt x="3556" y="638"/>
                </a:lnTo>
                <a:lnTo>
                  <a:pt x="3558" y="638"/>
                </a:lnTo>
                <a:lnTo>
                  <a:pt x="3568" y="641"/>
                </a:lnTo>
                <a:lnTo>
                  <a:pt x="3574" y="641"/>
                </a:lnTo>
                <a:lnTo>
                  <a:pt x="3580" y="642"/>
                </a:lnTo>
                <a:lnTo>
                  <a:pt x="3587" y="642"/>
                </a:lnTo>
                <a:lnTo>
                  <a:pt x="3609" y="642"/>
                </a:lnTo>
                <a:lnTo>
                  <a:pt x="3614" y="641"/>
                </a:lnTo>
                <a:lnTo>
                  <a:pt x="3627" y="641"/>
                </a:lnTo>
                <a:lnTo>
                  <a:pt x="3635" y="640"/>
                </a:lnTo>
                <a:lnTo>
                  <a:pt x="3641" y="640"/>
                </a:lnTo>
                <a:lnTo>
                  <a:pt x="3647" y="638"/>
                </a:lnTo>
                <a:lnTo>
                  <a:pt x="3651" y="638"/>
                </a:lnTo>
                <a:lnTo>
                  <a:pt x="3655" y="637"/>
                </a:lnTo>
                <a:lnTo>
                  <a:pt x="3665" y="636"/>
                </a:lnTo>
                <a:lnTo>
                  <a:pt x="3670" y="636"/>
                </a:lnTo>
                <a:lnTo>
                  <a:pt x="3674" y="635"/>
                </a:lnTo>
                <a:lnTo>
                  <a:pt x="3683" y="634"/>
                </a:lnTo>
                <a:lnTo>
                  <a:pt x="3690" y="632"/>
                </a:lnTo>
                <a:lnTo>
                  <a:pt x="3696" y="631"/>
                </a:lnTo>
                <a:lnTo>
                  <a:pt x="3702" y="630"/>
                </a:lnTo>
                <a:lnTo>
                  <a:pt x="3708" y="629"/>
                </a:lnTo>
                <a:lnTo>
                  <a:pt x="3714" y="628"/>
                </a:lnTo>
                <a:lnTo>
                  <a:pt x="3717" y="628"/>
                </a:lnTo>
                <a:lnTo>
                  <a:pt x="3719" y="626"/>
                </a:lnTo>
                <a:lnTo>
                  <a:pt x="3723" y="626"/>
                </a:lnTo>
                <a:lnTo>
                  <a:pt x="3757" y="618"/>
                </a:lnTo>
                <a:lnTo>
                  <a:pt x="3760" y="768"/>
                </a:lnTo>
                <a:lnTo>
                  <a:pt x="3758" y="769"/>
                </a:lnTo>
                <a:lnTo>
                  <a:pt x="3755" y="769"/>
                </a:lnTo>
                <a:lnTo>
                  <a:pt x="3751" y="772"/>
                </a:lnTo>
                <a:lnTo>
                  <a:pt x="3748" y="772"/>
                </a:lnTo>
                <a:lnTo>
                  <a:pt x="3747" y="772"/>
                </a:lnTo>
                <a:lnTo>
                  <a:pt x="3745" y="773"/>
                </a:lnTo>
                <a:lnTo>
                  <a:pt x="3743" y="773"/>
                </a:lnTo>
                <a:lnTo>
                  <a:pt x="3739" y="774"/>
                </a:lnTo>
                <a:lnTo>
                  <a:pt x="3735" y="775"/>
                </a:lnTo>
                <a:lnTo>
                  <a:pt x="3729" y="778"/>
                </a:lnTo>
                <a:lnTo>
                  <a:pt x="3685" y="787"/>
                </a:lnTo>
                <a:lnTo>
                  <a:pt x="3682" y="787"/>
                </a:lnTo>
                <a:lnTo>
                  <a:pt x="3679" y="789"/>
                </a:lnTo>
                <a:lnTo>
                  <a:pt x="3676" y="789"/>
                </a:lnTo>
                <a:lnTo>
                  <a:pt x="3668" y="790"/>
                </a:lnTo>
                <a:lnTo>
                  <a:pt x="3661" y="791"/>
                </a:lnTo>
                <a:lnTo>
                  <a:pt x="3653" y="792"/>
                </a:lnTo>
                <a:lnTo>
                  <a:pt x="3645" y="795"/>
                </a:lnTo>
                <a:lnTo>
                  <a:pt x="3631" y="795"/>
                </a:lnTo>
                <a:lnTo>
                  <a:pt x="3626" y="796"/>
                </a:lnTo>
                <a:lnTo>
                  <a:pt x="3620" y="796"/>
                </a:lnTo>
                <a:lnTo>
                  <a:pt x="3614" y="797"/>
                </a:lnTo>
                <a:lnTo>
                  <a:pt x="3607" y="797"/>
                </a:lnTo>
                <a:lnTo>
                  <a:pt x="3600" y="798"/>
                </a:lnTo>
                <a:lnTo>
                  <a:pt x="3590" y="798"/>
                </a:lnTo>
                <a:lnTo>
                  <a:pt x="3578" y="800"/>
                </a:lnTo>
                <a:lnTo>
                  <a:pt x="3545" y="800"/>
                </a:lnTo>
                <a:lnTo>
                  <a:pt x="3537" y="800"/>
                </a:lnTo>
                <a:lnTo>
                  <a:pt x="3533" y="800"/>
                </a:lnTo>
                <a:lnTo>
                  <a:pt x="3529" y="800"/>
                </a:lnTo>
                <a:lnTo>
                  <a:pt x="3520" y="800"/>
                </a:lnTo>
                <a:lnTo>
                  <a:pt x="3512" y="798"/>
                </a:lnTo>
                <a:lnTo>
                  <a:pt x="3506" y="798"/>
                </a:lnTo>
                <a:lnTo>
                  <a:pt x="3502" y="797"/>
                </a:lnTo>
                <a:lnTo>
                  <a:pt x="3498" y="797"/>
                </a:lnTo>
                <a:lnTo>
                  <a:pt x="3493" y="796"/>
                </a:lnTo>
                <a:lnTo>
                  <a:pt x="3491" y="796"/>
                </a:lnTo>
                <a:lnTo>
                  <a:pt x="3487" y="795"/>
                </a:lnTo>
                <a:lnTo>
                  <a:pt x="3483" y="795"/>
                </a:lnTo>
                <a:lnTo>
                  <a:pt x="3481" y="795"/>
                </a:lnTo>
                <a:lnTo>
                  <a:pt x="3479" y="793"/>
                </a:lnTo>
                <a:lnTo>
                  <a:pt x="3476" y="793"/>
                </a:lnTo>
                <a:lnTo>
                  <a:pt x="3452" y="786"/>
                </a:lnTo>
                <a:lnTo>
                  <a:pt x="3447" y="784"/>
                </a:lnTo>
                <a:lnTo>
                  <a:pt x="3445" y="782"/>
                </a:lnTo>
                <a:lnTo>
                  <a:pt x="3442" y="781"/>
                </a:lnTo>
                <a:lnTo>
                  <a:pt x="3440" y="781"/>
                </a:lnTo>
                <a:lnTo>
                  <a:pt x="3436" y="780"/>
                </a:lnTo>
                <a:lnTo>
                  <a:pt x="3434" y="779"/>
                </a:lnTo>
                <a:lnTo>
                  <a:pt x="3433" y="778"/>
                </a:lnTo>
                <a:lnTo>
                  <a:pt x="3430" y="776"/>
                </a:lnTo>
                <a:lnTo>
                  <a:pt x="3428" y="775"/>
                </a:lnTo>
                <a:lnTo>
                  <a:pt x="3425" y="774"/>
                </a:lnTo>
                <a:lnTo>
                  <a:pt x="3422" y="772"/>
                </a:lnTo>
                <a:lnTo>
                  <a:pt x="3421" y="770"/>
                </a:lnTo>
                <a:lnTo>
                  <a:pt x="3418" y="769"/>
                </a:lnTo>
                <a:lnTo>
                  <a:pt x="3416" y="768"/>
                </a:lnTo>
                <a:lnTo>
                  <a:pt x="3415" y="767"/>
                </a:lnTo>
                <a:lnTo>
                  <a:pt x="3412" y="765"/>
                </a:lnTo>
                <a:lnTo>
                  <a:pt x="3411" y="764"/>
                </a:lnTo>
                <a:lnTo>
                  <a:pt x="3410" y="763"/>
                </a:lnTo>
                <a:lnTo>
                  <a:pt x="3407" y="761"/>
                </a:lnTo>
                <a:lnTo>
                  <a:pt x="3405" y="758"/>
                </a:lnTo>
                <a:lnTo>
                  <a:pt x="3400" y="754"/>
                </a:lnTo>
                <a:lnTo>
                  <a:pt x="3393" y="748"/>
                </a:lnTo>
                <a:lnTo>
                  <a:pt x="3386" y="741"/>
                </a:lnTo>
                <a:lnTo>
                  <a:pt x="3382" y="736"/>
                </a:lnTo>
                <a:lnTo>
                  <a:pt x="3380" y="734"/>
                </a:lnTo>
                <a:lnTo>
                  <a:pt x="3377" y="731"/>
                </a:lnTo>
                <a:lnTo>
                  <a:pt x="3376" y="729"/>
                </a:lnTo>
                <a:lnTo>
                  <a:pt x="3375" y="726"/>
                </a:lnTo>
                <a:lnTo>
                  <a:pt x="3373" y="725"/>
                </a:lnTo>
                <a:lnTo>
                  <a:pt x="3372" y="723"/>
                </a:lnTo>
                <a:lnTo>
                  <a:pt x="3371" y="721"/>
                </a:lnTo>
                <a:lnTo>
                  <a:pt x="3370" y="720"/>
                </a:lnTo>
                <a:lnTo>
                  <a:pt x="3369" y="718"/>
                </a:lnTo>
                <a:lnTo>
                  <a:pt x="3367" y="715"/>
                </a:lnTo>
                <a:lnTo>
                  <a:pt x="3366" y="713"/>
                </a:lnTo>
                <a:lnTo>
                  <a:pt x="3364" y="708"/>
                </a:lnTo>
                <a:lnTo>
                  <a:pt x="3363" y="707"/>
                </a:lnTo>
                <a:lnTo>
                  <a:pt x="3361" y="704"/>
                </a:lnTo>
                <a:lnTo>
                  <a:pt x="3360" y="702"/>
                </a:lnTo>
                <a:lnTo>
                  <a:pt x="3359" y="700"/>
                </a:lnTo>
                <a:lnTo>
                  <a:pt x="3357" y="695"/>
                </a:lnTo>
                <a:lnTo>
                  <a:pt x="3357" y="693"/>
                </a:lnTo>
                <a:lnTo>
                  <a:pt x="3355" y="691"/>
                </a:lnTo>
                <a:lnTo>
                  <a:pt x="3354" y="690"/>
                </a:lnTo>
                <a:lnTo>
                  <a:pt x="3353" y="687"/>
                </a:lnTo>
                <a:lnTo>
                  <a:pt x="3353" y="685"/>
                </a:lnTo>
                <a:lnTo>
                  <a:pt x="3351" y="681"/>
                </a:lnTo>
                <a:lnTo>
                  <a:pt x="3349" y="676"/>
                </a:lnTo>
                <a:lnTo>
                  <a:pt x="3348" y="673"/>
                </a:lnTo>
                <a:lnTo>
                  <a:pt x="3347" y="671"/>
                </a:lnTo>
                <a:lnTo>
                  <a:pt x="3347" y="669"/>
                </a:lnTo>
                <a:lnTo>
                  <a:pt x="3347" y="668"/>
                </a:lnTo>
                <a:lnTo>
                  <a:pt x="3346" y="665"/>
                </a:lnTo>
                <a:lnTo>
                  <a:pt x="3346" y="663"/>
                </a:lnTo>
                <a:lnTo>
                  <a:pt x="3344" y="662"/>
                </a:lnTo>
                <a:lnTo>
                  <a:pt x="3344" y="660"/>
                </a:lnTo>
                <a:lnTo>
                  <a:pt x="3342" y="653"/>
                </a:lnTo>
                <a:lnTo>
                  <a:pt x="3341" y="648"/>
                </a:lnTo>
                <a:lnTo>
                  <a:pt x="3340" y="643"/>
                </a:lnTo>
                <a:lnTo>
                  <a:pt x="3338" y="638"/>
                </a:lnTo>
                <a:lnTo>
                  <a:pt x="3336" y="628"/>
                </a:lnTo>
                <a:lnTo>
                  <a:pt x="3335" y="620"/>
                </a:lnTo>
                <a:lnTo>
                  <a:pt x="3334" y="612"/>
                </a:lnTo>
                <a:lnTo>
                  <a:pt x="3332" y="604"/>
                </a:lnTo>
                <a:lnTo>
                  <a:pt x="3332" y="599"/>
                </a:lnTo>
                <a:lnTo>
                  <a:pt x="3332" y="593"/>
                </a:lnTo>
                <a:lnTo>
                  <a:pt x="3331" y="588"/>
                </a:lnTo>
                <a:lnTo>
                  <a:pt x="3331" y="581"/>
                </a:lnTo>
                <a:lnTo>
                  <a:pt x="3330" y="560"/>
                </a:lnTo>
                <a:lnTo>
                  <a:pt x="3329" y="556"/>
                </a:lnTo>
                <a:lnTo>
                  <a:pt x="3329" y="549"/>
                </a:lnTo>
                <a:lnTo>
                  <a:pt x="3329" y="536"/>
                </a:lnTo>
                <a:lnTo>
                  <a:pt x="3329" y="487"/>
                </a:lnTo>
                <a:lnTo>
                  <a:pt x="3329" y="414"/>
                </a:lnTo>
                <a:lnTo>
                  <a:pt x="3329" y="391"/>
                </a:lnTo>
                <a:lnTo>
                  <a:pt x="3329" y="385"/>
                </a:lnTo>
                <a:lnTo>
                  <a:pt x="3330" y="379"/>
                </a:lnTo>
                <a:lnTo>
                  <a:pt x="3330" y="368"/>
                </a:lnTo>
                <a:lnTo>
                  <a:pt x="3330" y="358"/>
                </a:lnTo>
                <a:lnTo>
                  <a:pt x="3331" y="352"/>
                </a:lnTo>
                <a:lnTo>
                  <a:pt x="3331" y="346"/>
                </a:lnTo>
                <a:lnTo>
                  <a:pt x="3332" y="339"/>
                </a:lnTo>
                <a:lnTo>
                  <a:pt x="3332" y="335"/>
                </a:lnTo>
                <a:lnTo>
                  <a:pt x="3334" y="326"/>
                </a:lnTo>
                <a:lnTo>
                  <a:pt x="3334" y="322"/>
                </a:lnTo>
                <a:lnTo>
                  <a:pt x="3336" y="313"/>
                </a:lnTo>
                <a:lnTo>
                  <a:pt x="3338" y="303"/>
                </a:lnTo>
                <a:lnTo>
                  <a:pt x="3338" y="297"/>
                </a:lnTo>
                <a:lnTo>
                  <a:pt x="3340" y="292"/>
                </a:lnTo>
                <a:lnTo>
                  <a:pt x="3341" y="287"/>
                </a:lnTo>
                <a:lnTo>
                  <a:pt x="3342" y="285"/>
                </a:lnTo>
                <a:lnTo>
                  <a:pt x="3342" y="282"/>
                </a:lnTo>
                <a:lnTo>
                  <a:pt x="3343" y="281"/>
                </a:lnTo>
                <a:lnTo>
                  <a:pt x="3343" y="278"/>
                </a:lnTo>
                <a:lnTo>
                  <a:pt x="3344" y="276"/>
                </a:lnTo>
                <a:lnTo>
                  <a:pt x="3344" y="275"/>
                </a:lnTo>
                <a:lnTo>
                  <a:pt x="3346" y="272"/>
                </a:lnTo>
                <a:lnTo>
                  <a:pt x="3346" y="270"/>
                </a:lnTo>
                <a:lnTo>
                  <a:pt x="3347" y="269"/>
                </a:lnTo>
                <a:lnTo>
                  <a:pt x="3347" y="267"/>
                </a:lnTo>
                <a:lnTo>
                  <a:pt x="3347" y="265"/>
                </a:lnTo>
                <a:lnTo>
                  <a:pt x="3348" y="264"/>
                </a:lnTo>
                <a:lnTo>
                  <a:pt x="3348" y="261"/>
                </a:lnTo>
                <a:lnTo>
                  <a:pt x="3349" y="258"/>
                </a:lnTo>
                <a:lnTo>
                  <a:pt x="3352" y="253"/>
                </a:lnTo>
                <a:lnTo>
                  <a:pt x="3353" y="250"/>
                </a:lnTo>
                <a:lnTo>
                  <a:pt x="3354" y="248"/>
                </a:lnTo>
                <a:lnTo>
                  <a:pt x="3355" y="244"/>
                </a:lnTo>
                <a:lnTo>
                  <a:pt x="3357" y="242"/>
                </a:lnTo>
                <a:lnTo>
                  <a:pt x="3358" y="239"/>
                </a:lnTo>
                <a:lnTo>
                  <a:pt x="3359" y="236"/>
                </a:lnTo>
                <a:lnTo>
                  <a:pt x="3360" y="233"/>
                </a:lnTo>
                <a:lnTo>
                  <a:pt x="3361" y="231"/>
                </a:lnTo>
                <a:lnTo>
                  <a:pt x="3363" y="228"/>
                </a:lnTo>
                <a:lnTo>
                  <a:pt x="3364" y="226"/>
                </a:lnTo>
                <a:lnTo>
                  <a:pt x="3365" y="225"/>
                </a:lnTo>
                <a:lnTo>
                  <a:pt x="3366" y="221"/>
                </a:lnTo>
                <a:lnTo>
                  <a:pt x="3369" y="217"/>
                </a:lnTo>
                <a:lnTo>
                  <a:pt x="3370" y="215"/>
                </a:lnTo>
                <a:lnTo>
                  <a:pt x="3371" y="214"/>
                </a:lnTo>
                <a:lnTo>
                  <a:pt x="3373" y="210"/>
                </a:lnTo>
                <a:lnTo>
                  <a:pt x="3375" y="209"/>
                </a:lnTo>
                <a:lnTo>
                  <a:pt x="3376" y="208"/>
                </a:lnTo>
                <a:lnTo>
                  <a:pt x="3377" y="206"/>
                </a:lnTo>
                <a:lnTo>
                  <a:pt x="3378" y="204"/>
                </a:lnTo>
                <a:lnTo>
                  <a:pt x="3381" y="202"/>
                </a:lnTo>
                <a:lnTo>
                  <a:pt x="3382" y="199"/>
                </a:lnTo>
                <a:lnTo>
                  <a:pt x="3384" y="195"/>
                </a:lnTo>
                <a:lnTo>
                  <a:pt x="3388" y="192"/>
                </a:lnTo>
                <a:lnTo>
                  <a:pt x="3396" y="183"/>
                </a:lnTo>
                <a:lnTo>
                  <a:pt x="3404" y="176"/>
                </a:lnTo>
                <a:lnTo>
                  <a:pt x="3407" y="172"/>
                </a:lnTo>
                <a:lnTo>
                  <a:pt x="3410" y="170"/>
                </a:lnTo>
                <a:lnTo>
                  <a:pt x="3412" y="167"/>
                </a:lnTo>
                <a:lnTo>
                  <a:pt x="3415" y="167"/>
                </a:lnTo>
                <a:lnTo>
                  <a:pt x="3416" y="166"/>
                </a:lnTo>
                <a:lnTo>
                  <a:pt x="3418" y="165"/>
                </a:lnTo>
                <a:lnTo>
                  <a:pt x="3419" y="164"/>
                </a:lnTo>
                <a:lnTo>
                  <a:pt x="3421" y="163"/>
                </a:lnTo>
                <a:lnTo>
                  <a:pt x="3422" y="161"/>
                </a:lnTo>
                <a:lnTo>
                  <a:pt x="3424" y="160"/>
                </a:lnTo>
                <a:lnTo>
                  <a:pt x="3427" y="159"/>
                </a:lnTo>
                <a:lnTo>
                  <a:pt x="3429" y="158"/>
                </a:lnTo>
                <a:lnTo>
                  <a:pt x="3432" y="156"/>
                </a:lnTo>
                <a:lnTo>
                  <a:pt x="3434" y="155"/>
                </a:lnTo>
                <a:lnTo>
                  <a:pt x="3435" y="153"/>
                </a:lnTo>
                <a:lnTo>
                  <a:pt x="3439" y="152"/>
                </a:lnTo>
                <a:lnTo>
                  <a:pt x="3444" y="150"/>
                </a:lnTo>
                <a:lnTo>
                  <a:pt x="3445" y="149"/>
                </a:lnTo>
                <a:lnTo>
                  <a:pt x="3448" y="148"/>
                </a:lnTo>
                <a:lnTo>
                  <a:pt x="3450" y="147"/>
                </a:lnTo>
                <a:lnTo>
                  <a:pt x="3454" y="145"/>
                </a:lnTo>
                <a:lnTo>
                  <a:pt x="3456" y="144"/>
                </a:lnTo>
                <a:lnTo>
                  <a:pt x="3463" y="142"/>
                </a:lnTo>
                <a:lnTo>
                  <a:pt x="3464" y="142"/>
                </a:lnTo>
                <a:lnTo>
                  <a:pt x="3465" y="141"/>
                </a:lnTo>
                <a:lnTo>
                  <a:pt x="3468" y="141"/>
                </a:lnTo>
                <a:lnTo>
                  <a:pt x="3469" y="139"/>
                </a:lnTo>
                <a:lnTo>
                  <a:pt x="3471" y="139"/>
                </a:lnTo>
                <a:lnTo>
                  <a:pt x="3475" y="138"/>
                </a:lnTo>
                <a:lnTo>
                  <a:pt x="3477" y="137"/>
                </a:lnTo>
                <a:lnTo>
                  <a:pt x="3480" y="137"/>
                </a:lnTo>
                <a:lnTo>
                  <a:pt x="3482" y="136"/>
                </a:lnTo>
                <a:lnTo>
                  <a:pt x="3485" y="136"/>
                </a:lnTo>
                <a:lnTo>
                  <a:pt x="3490" y="134"/>
                </a:lnTo>
                <a:lnTo>
                  <a:pt x="3496" y="133"/>
                </a:lnTo>
                <a:lnTo>
                  <a:pt x="3499" y="133"/>
                </a:lnTo>
                <a:lnTo>
                  <a:pt x="3503" y="132"/>
                </a:lnTo>
                <a:lnTo>
                  <a:pt x="3506" y="132"/>
                </a:lnTo>
                <a:lnTo>
                  <a:pt x="3511" y="131"/>
                </a:lnTo>
                <a:lnTo>
                  <a:pt x="3516" y="131"/>
                </a:lnTo>
                <a:lnTo>
                  <a:pt x="3521" y="130"/>
                </a:lnTo>
                <a:lnTo>
                  <a:pt x="3528" y="130"/>
                </a:lnTo>
                <a:lnTo>
                  <a:pt x="3539" y="128"/>
                </a:lnTo>
                <a:lnTo>
                  <a:pt x="3545" y="128"/>
                </a:lnTo>
                <a:lnTo>
                  <a:pt x="3551" y="127"/>
                </a:lnTo>
                <a:lnTo>
                  <a:pt x="3564" y="128"/>
                </a:lnTo>
                <a:lnTo>
                  <a:pt x="3589" y="130"/>
                </a:lnTo>
                <a:lnTo>
                  <a:pt x="3595" y="130"/>
                </a:lnTo>
                <a:lnTo>
                  <a:pt x="3601" y="131"/>
                </a:lnTo>
                <a:lnTo>
                  <a:pt x="3607" y="132"/>
                </a:lnTo>
                <a:lnTo>
                  <a:pt x="3610" y="132"/>
                </a:lnTo>
                <a:lnTo>
                  <a:pt x="3613" y="133"/>
                </a:lnTo>
                <a:lnTo>
                  <a:pt x="3616" y="133"/>
                </a:lnTo>
                <a:lnTo>
                  <a:pt x="3619" y="134"/>
                </a:lnTo>
                <a:lnTo>
                  <a:pt x="3644" y="142"/>
                </a:lnTo>
                <a:lnTo>
                  <a:pt x="3648" y="143"/>
                </a:lnTo>
                <a:lnTo>
                  <a:pt x="3650" y="144"/>
                </a:lnTo>
                <a:lnTo>
                  <a:pt x="3653" y="145"/>
                </a:lnTo>
                <a:lnTo>
                  <a:pt x="3656" y="147"/>
                </a:lnTo>
                <a:lnTo>
                  <a:pt x="3659" y="148"/>
                </a:lnTo>
                <a:lnTo>
                  <a:pt x="3661" y="149"/>
                </a:lnTo>
                <a:lnTo>
                  <a:pt x="3664" y="150"/>
                </a:lnTo>
                <a:lnTo>
                  <a:pt x="3666" y="152"/>
                </a:lnTo>
                <a:lnTo>
                  <a:pt x="3668" y="153"/>
                </a:lnTo>
                <a:lnTo>
                  <a:pt x="3671" y="154"/>
                </a:lnTo>
                <a:lnTo>
                  <a:pt x="3674" y="156"/>
                </a:lnTo>
                <a:lnTo>
                  <a:pt x="3676" y="158"/>
                </a:lnTo>
                <a:lnTo>
                  <a:pt x="3678" y="159"/>
                </a:lnTo>
                <a:lnTo>
                  <a:pt x="3679" y="160"/>
                </a:lnTo>
                <a:lnTo>
                  <a:pt x="3681" y="161"/>
                </a:lnTo>
                <a:lnTo>
                  <a:pt x="3682" y="163"/>
                </a:lnTo>
                <a:lnTo>
                  <a:pt x="3684" y="165"/>
                </a:lnTo>
                <a:lnTo>
                  <a:pt x="3688" y="166"/>
                </a:lnTo>
                <a:lnTo>
                  <a:pt x="3691" y="170"/>
                </a:lnTo>
                <a:lnTo>
                  <a:pt x="3700" y="178"/>
                </a:lnTo>
                <a:lnTo>
                  <a:pt x="3708" y="186"/>
                </a:lnTo>
                <a:lnTo>
                  <a:pt x="3711" y="189"/>
                </a:lnTo>
                <a:lnTo>
                  <a:pt x="3713" y="192"/>
                </a:lnTo>
                <a:lnTo>
                  <a:pt x="3714" y="194"/>
                </a:lnTo>
                <a:lnTo>
                  <a:pt x="3717" y="197"/>
                </a:lnTo>
                <a:lnTo>
                  <a:pt x="3718" y="198"/>
                </a:lnTo>
                <a:lnTo>
                  <a:pt x="3719" y="200"/>
                </a:lnTo>
                <a:lnTo>
                  <a:pt x="3720" y="203"/>
                </a:lnTo>
                <a:lnTo>
                  <a:pt x="3722" y="204"/>
                </a:lnTo>
                <a:lnTo>
                  <a:pt x="3723" y="206"/>
                </a:lnTo>
                <a:lnTo>
                  <a:pt x="3724" y="209"/>
                </a:lnTo>
                <a:lnTo>
                  <a:pt x="3725" y="211"/>
                </a:lnTo>
                <a:lnTo>
                  <a:pt x="3728" y="215"/>
                </a:lnTo>
                <a:lnTo>
                  <a:pt x="3729" y="217"/>
                </a:lnTo>
                <a:lnTo>
                  <a:pt x="3730" y="220"/>
                </a:lnTo>
                <a:lnTo>
                  <a:pt x="3731" y="222"/>
                </a:lnTo>
                <a:lnTo>
                  <a:pt x="3732" y="224"/>
                </a:lnTo>
                <a:lnTo>
                  <a:pt x="3734" y="226"/>
                </a:lnTo>
                <a:lnTo>
                  <a:pt x="3736" y="231"/>
                </a:lnTo>
                <a:lnTo>
                  <a:pt x="3736" y="233"/>
                </a:lnTo>
                <a:lnTo>
                  <a:pt x="3737" y="236"/>
                </a:lnTo>
                <a:lnTo>
                  <a:pt x="3739" y="237"/>
                </a:lnTo>
                <a:lnTo>
                  <a:pt x="3739" y="239"/>
                </a:lnTo>
                <a:lnTo>
                  <a:pt x="3740" y="241"/>
                </a:lnTo>
                <a:lnTo>
                  <a:pt x="3741" y="244"/>
                </a:lnTo>
                <a:lnTo>
                  <a:pt x="3741" y="246"/>
                </a:lnTo>
                <a:lnTo>
                  <a:pt x="3742" y="249"/>
                </a:lnTo>
                <a:lnTo>
                  <a:pt x="3743" y="253"/>
                </a:lnTo>
                <a:lnTo>
                  <a:pt x="3747" y="261"/>
                </a:lnTo>
                <a:lnTo>
                  <a:pt x="3747" y="263"/>
                </a:lnTo>
                <a:lnTo>
                  <a:pt x="3748" y="265"/>
                </a:lnTo>
                <a:lnTo>
                  <a:pt x="3749" y="269"/>
                </a:lnTo>
                <a:lnTo>
                  <a:pt x="3751" y="272"/>
                </a:lnTo>
                <a:lnTo>
                  <a:pt x="3751" y="275"/>
                </a:lnTo>
                <a:lnTo>
                  <a:pt x="3753" y="282"/>
                </a:lnTo>
                <a:lnTo>
                  <a:pt x="3754" y="289"/>
                </a:lnTo>
                <a:lnTo>
                  <a:pt x="3754" y="293"/>
                </a:lnTo>
                <a:lnTo>
                  <a:pt x="3755" y="296"/>
                </a:lnTo>
                <a:lnTo>
                  <a:pt x="3755" y="298"/>
                </a:lnTo>
                <a:lnTo>
                  <a:pt x="3757" y="302"/>
                </a:lnTo>
                <a:lnTo>
                  <a:pt x="3757" y="305"/>
                </a:lnTo>
                <a:lnTo>
                  <a:pt x="3758" y="309"/>
                </a:lnTo>
                <a:lnTo>
                  <a:pt x="3759" y="314"/>
                </a:lnTo>
                <a:lnTo>
                  <a:pt x="3759" y="319"/>
                </a:lnTo>
                <a:lnTo>
                  <a:pt x="3760" y="324"/>
                </a:lnTo>
                <a:lnTo>
                  <a:pt x="3760" y="329"/>
                </a:lnTo>
                <a:lnTo>
                  <a:pt x="3761" y="333"/>
                </a:lnTo>
                <a:lnTo>
                  <a:pt x="3761" y="339"/>
                </a:lnTo>
                <a:lnTo>
                  <a:pt x="3763" y="344"/>
                </a:lnTo>
                <a:lnTo>
                  <a:pt x="3763" y="350"/>
                </a:lnTo>
                <a:lnTo>
                  <a:pt x="3764" y="360"/>
                </a:lnTo>
                <a:lnTo>
                  <a:pt x="3765" y="388"/>
                </a:lnTo>
                <a:lnTo>
                  <a:pt x="3765" y="392"/>
                </a:lnTo>
                <a:lnTo>
                  <a:pt x="3765" y="396"/>
                </a:lnTo>
                <a:lnTo>
                  <a:pt x="3765" y="404"/>
                </a:lnTo>
                <a:lnTo>
                  <a:pt x="3765" y="433"/>
                </a:lnTo>
                <a:lnTo>
                  <a:pt x="3765" y="532"/>
                </a:lnTo>
                <a:close/>
                <a:moveTo>
                  <a:pt x="1993" y="793"/>
                </a:moveTo>
                <a:lnTo>
                  <a:pt x="1993" y="390"/>
                </a:lnTo>
                <a:lnTo>
                  <a:pt x="1993" y="308"/>
                </a:lnTo>
                <a:lnTo>
                  <a:pt x="1993" y="289"/>
                </a:lnTo>
                <a:lnTo>
                  <a:pt x="1993" y="285"/>
                </a:lnTo>
                <a:lnTo>
                  <a:pt x="1992" y="281"/>
                </a:lnTo>
                <a:lnTo>
                  <a:pt x="1992" y="277"/>
                </a:lnTo>
                <a:lnTo>
                  <a:pt x="1991" y="274"/>
                </a:lnTo>
                <a:lnTo>
                  <a:pt x="1990" y="270"/>
                </a:lnTo>
                <a:lnTo>
                  <a:pt x="1988" y="269"/>
                </a:lnTo>
                <a:lnTo>
                  <a:pt x="1987" y="267"/>
                </a:lnTo>
                <a:lnTo>
                  <a:pt x="1985" y="264"/>
                </a:lnTo>
                <a:lnTo>
                  <a:pt x="1983" y="263"/>
                </a:lnTo>
                <a:lnTo>
                  <a:pt x="1981" y="263"/>
                </a:lnTo>
                <a:lnTo>
                  <a:pt x="1979" y="261"/>
                </a:lnTo>
                <a:lnTo>
                  <a:pt x="1968" y="259"/>
                </a:lnTo>
                <a:lnTo>
                  <a:pt x="1957" y="259"/>
                </a:lnTo>
                <a:lnTo>
                  <a:pt x="1950" y="261"/>
                </a:lnTo>
                <a:lnTo>
                  <a:pt x="1933" y="267"/>
                </a:lnTo>
                <a:lnTo>
                  <a:pt x="1932" y="269"/>
                </a:lnTo>
                <a:lnTo>
                  <a:pt x="1929" y="270"/>
                </a:lnTo>
                <a:lnTo>
                  <a:pt x="1927" y="272"/>
                </a:lnTo>
                <a:lnTo>
                  <a:pt x="1924" y="274"/>
                </a:lnTo>
                <a:lnTo>
                  <a:pt x="1924" y="379"/>
                </a:lnTo>
                <a:lnTo>
                  <a:pt x="1924" y="793"/>
                </a:lnTo>
                <a:lnTo>
                  <a:pt x="1737" y="793"/>
                </a:lnTo>
                <a:lnTo>
                  <a:pt x="1736" y="790"/>
                </a:lnTo>
                <a:lnTo>
                  <a:pt x="1736" y="785"/>
                </a:lnTo>
                <a:lnTo>
                  <a:pt x="1736" y="775"/>
                </a:lnTo>
                <a:lnTo>
                  <a:pt x="1736" y="736"/>
                </a:lnTo>
                <a:lnTo>
                  <a:pt x="1736" y="601"/>
                </a:lnTo>
                <a:lnTo>
                  <a:pt x="1736" y="143"/>
                </a:lnTo>
                <a:lnTo>
                  <a:pt x="1739" y="142"/>
                </a:lnTo>
                <a:lnTo>
                  <a:pt x="1744" y="142"/>
                </a:lnTo>
                <a:lnTo>
                  <a:pt x="1753" y="142"/>
                </a:lnTo>
                <a:lnTo>
                  <a:pt x="1790" y="142"/>
                </a:lnTo>
                <a:lnTo>
                  <a:pt x="1915" y="142"/>
                </a:lnTo>
                <a:lnTo>
                  <a:pt x="1924" y="186"/>
                </a:lnTo>
                <a:lnTo>
                  <a:pt x="1927" y="183"/>
                </a:lnTo>
                <a:lnTo>
                  <a:pt x="1930" y="181"/>
                </a:lnTo>
                <a:lnTo>
                  <a:pt x="1934" y="178"/>
                </a:lnTo>
                <a:lnTo>
                  <a:pt x="1938" y="176"/>
                </a:lnTo>
                <a:lnTo>
                  <a:pt x="1940" y="174"/>
                </a:lnTo>
                <a:lnTo>
                  <a:pt x="1942" y="171"/>
                </a:lnTo>
                <a:lnTo>
                  <a:pt x="1945" y="170"/>
                </a:lnTo>
                <a:lnTo>
                  <a:pt x="1946" y="169"/>
                </a:lnTo>
                <a:lnTo>
                  <a:pt x="1948" y="167"/>
                </a:lnTo>
                <a:lnTo>
                  <a:pt x="1950" y="166"/>
                </a:lnTo>
                <a:lnTo>
                  <a:pt x="1951" y="165"/>
                </a:lnTo>
                <a:lnTo>
                  <a:pt x="1953" y="164"/>
                </a:lnTo>
                <a:lnTo>
                  <a:pt x="1954" y="164"/>
                </a:lnTo>
                <a:lnTo>
                  <a:pt x="1956" y="161"/>
                </a:lnTo>
                <a:lnTo>
                  <a:pt x="1958" y="160"/>
                </a:lnTo>
                <a:lnTo>
                  <a:pt x="1959" y="159"/>
                </a:lnTo>
                <a:lnTo>
                  <a:pt x="1962" y="158"/>
                </a:lnTo>
                <a:lnTo>
                  <a:pt x="1963" y="156"/>
                </a:lnTo>
                <a:lnTo>
                  <a:pt x="1965" y="156"/>
                </a:lnTo>
                <a:lnTo>
                  <a:pt x="1969" y="154"/>
                </a:lnTo>
                <a:lnTo>
                  <a:pt x="1970" y="153"/>
                </a:lnTo>
                <a:lnTo>
                  <a:pt x="1971" y="152"/>
                </a:lnTo>
                <a:lnTo>
                  <a:pt x="1974" y="150"/>
                </a:lnTo>
                <a:lnTo>
                  <a:pt x="1976" y="150"/>
                </a:lnTo>
                <a:lnTo>
                  <a:pt x="1999" y="138"/>
                </a:lnTo>
                <a:lnTo>
                  <a:pt x="2005" y="137"/>
                </a:lnTo>
                <a:lnTo>
                  <a:pt x="2006" y="136"/>
                </a:lnTo>
                <a:lnTo>
                  <a:pt x="2009" y="136"/>
                </a:lnTo>
                <a:lnTo>
                  <a:pt x="2010" y="136"/>
                </a:lnTo>
                <a:lnTo>
                  <a:pt x="2012" y="134"/>
                </a:lnTo>
                <a:lnTo>
                  <a:pt x="2014" y="134"/>
                </a:lnTo>
                <a:lnTo>
                  <a:pt x="2017" y="133"/>
                </a:lnTo>
                <a:lnTo>
                  <a:pt x="2026" y="131"/>
                </a:lnTo>
                <a:lnTo>
                  <a:pt x="2032" y="130"/>
                </a:lnTo>
                <a:lnTo>
                  <a:pt x="2040" y="128"/>
                </a:lnTo>
                <a:lnTo>
                  <a:pt x="2051" y="127"/>
                </a:lnTo>
                <a:lnTo>
                  <a:pt x="2062" y="128"/>
                </a:lnTo>
                <a:lnTo>
                  <a:pt x="2071" y="130"/>
                </a:lnTo>
                <a:lnTo>
                  <a:pt x="2079" y="130"/>
                </a:lnTo>
                <a:lnTo>
                  <a:pt x="2096" y="133"/>
                </a:lnTo>
                <a:lnTo>
                  <a:pt x="2097" y="134"/>
                </a:lnTo>
                <a:lnTo>
                  <a:pt x="2100" y="134"/>
                </a:lnTo>
                <a:lnTo>
                  <a:pt x="2101" y="136"/>
                </a:lnTo>
                <a:lnTo>
                  <a:pt x="2108" y="137"/>
                </a:lnTo>
                <a:lnTo>
                  <a:pt x="2112" y="139"/>
                </a:lnTo>
                <a:lnTo>
                  <a:pt x="2115" y="141"/>
                </a:lnTo>
                <a:lnTo>
                  <a:pt x="2120" y="143"/>
                </a:lnTo>
                <a:lnTo>
                  <a:pt x="2122" y="145"/>
                </a:lnTo>
                <a:lnTo>
                  <a:pt x="2125" y="147"/>
                </a:lnTo>
                <a:lnTo>
                  <a:pt x="2126" y="148"/>
                </a:lnTo>
                <a:lnTo>
                  <a:pt x="2129" y="149"/>
                </a:lnTo>
                <a:lnTo>
                  <a:pt x="2130" y="150"/>
                </a:lnTo>
                <a:lnTo>
                  <a:pt x="2131" y="152"/>
                </a:lnTo>
                <a:lnTo>
                  <a:pt x="2133" y="154"/>
                </a:lnTo>
                <a:lnTo>
                  <a:pt x="2139" y="159"/>
                </a:lnTo>
                <a:lnTo>
                  <a:pt x="2147" y="165"/>
                </a:lnTo>
                <a:lnTo>
                  <a:pt x="2149" y="169"/>
                </a:lnTo>
                <a:lnTo>
                  <a:pt x="2149" y="170"/>
                </a:lnTo>
                <a:lnTo>
                  <a:pt x="2150" y="172"/>
                </a:lnTo>
                <a:lnTo>
                  <a:pt x="2153" y="174"/>
                </a:lnTo>
                <a:lnTo>
                  <a:pt x="2154" y="175"/>
                </a:lnTo>
                <a:lnTo>
                  <a:pt x="2155" y="177"/>
                </a:lnTo>
                <a:lnTo>
                  <a:pt x="2155" y="178"/>
                </a:lnTo>
                <a:lnTo>
                  <a:pt x="2156" y="181"/>
                </a:lnTo>
                <a:lnTo>
                  <a:pt x="2158" y="182"/>
                </a:lnTo>
                <a:lnTo>
                  <a:pt x="2159" y="185"/>
                </a:lnTo>
                <a:lnTo>
                  <a:pt x="2160" y="187"/>
                </a:lnTo>
                <a:lnTo>
                  <a:pt x="2162" y="192"/>
                </a:lnTo>
                <a:lnTo>
                  <a:pt x="2164" y="195"/>
                </a:lnTo>
                <a:lnTo>
                  <a:pt x="2165" y="197"/>
                </a:lnTo>
                <a:lnTo>
                  <a:pt x="2166" y="199"/>
                </a:lnTo>
                <a:lnTo>
                  <a:pt x="2167" y="203"/>
                </a:lnTo>
                <a:lnTo>
                  <a:pt x="2168" y="206"/>
                </a:lnTo>
                <a:lnTo>
                  <a:pt x="2168" y="208"/>
                </a:lnTo>
                <a:lnTo>
                  <a:pt x="2170" y="209"/>
                </a:lnTo>
                <a:lnTo>
                  <a:pt x="2170" y="211"/>
                </a:lnTo>
                <a:lnTo>
                  <a:pt x="2171" y="215"/>
                </a:lnTo>
                <a:lnTo>
                  <a:pt x="2173" y="225"/>
                </a:lnTo>
                <a:lnTo>
                  <a:pt x="2176" y="235"/>
                </a:lnTo>
                <a:lnTo>
                  <a:pt x="2176" y="238"/>
                </a:lnTo>
                <a:lnTo>
                  <a:pt x="2178" y="249"/>
                </a:lnTo>
                <a:lnTo>
                  <a:pt x="2178" y="254"/>
                </a:lnTo>
                <a:lnTo>
                  <a:pt x="2179" y="259"/>
                </a:lnTo>
                <a:lnTo>
                  <a:pt x="2179" y="266"/>
                </a:lnTo>
                <a:lnTo>
                  <a:pt x="2181" y="288"/>
                </a:lnTo>
                <a:lnTo>
                  <a:pt x="2182" y="320"/>
                </a:lnTo>
                <a:lnTo>
                  <a:pt x="2182" y="385"/>
                </a:lnTo>
                <a:lnTo>
                  <a:pt x="2182" y="793"/>
                </a:lnTo>
                <a:lnTo>
                  <a:pt x="2177" y="793"/>
                </a:lnTo>
                <a:lnTo>
                  <a:pt x="2173" y="793"/>
                </a:lnTo>
                <a:lnTo>
                  <a:pt x="2164" y="793"/>
                </a:lnTo>
                <a:lnTo>
                  <a:pt x="2125" y="793"/>
                </a:lnTo>
                <a:lnTo>
                  <a:pt x="1993" y="793"/>
                </a:lnTo>
                <a:close/>
                <a:moveTo>
                  <a:pt x="1512" y="793"/>
                </a:moveTo>
                <a:lnTo>
                  <a:pt x="1501" y="757"/>
                </a:lnTo>
                <a:lnTo>
                  <a:pt x="1496" y="761"/>
                </a:lnTo>
                <a:lnTo>
                  <a:pt x="1493" y="765"/>
                </a:lnTo>
                <a:lnTo>
                  <a:pt x="1492" y="765"/>
                </a:lnTo>
                <a:lnTo>
                  <a:pt x="1488" y="769"/>
                </a:lnTo>
                <a:lnTo>
                  <a:pt x="1485" y="772"/>
                </a:lnTo>
                <a:lnTo>
                  <a:pt x="1483" y="773"/>
                </a:lnTo>
                <a:lnTo>
                  <a:pt x="1482" y="774"/>
                </a:lnTo>
                <a:lnTo>
                  <a:pt x="1481" y="775"/>
                </a:lnTo>
                <a:lnTo>
                  <a:pt x="1478" y="776"/>
                </a:lnTo>
                <a:lnTo>
                  <a:pt x="1477" y="778"/>
                </a:lnTo>
                <a:lnTo>
                  <a:pt x="1476" y="779"/>
                </a:lnTo>
                <a:lnTo>
                  <a:pt x="1473" y="780"/>
                </a:lnTo>
                <a:lnTo>
                  <a:pt x="1472" y="781"/>
                </a:lnTo>
                <a:lnTo>
                  <a:pt x="1470" y="781"/>
                </a:lnTo>
                <a:lnTo>
                  <a:pt x="1467" y="782"/>
                </a:lnTo>
                <a:lnTo>
                  <a:pt x="1465" y="784"/>
                </a:lnTo>
                <a:lnTo>
                  <a:pt x="1463" y="785"/>
                </a:lnTo>
                <a:lnTo>
                  <a:pt x="1461" y="786"/>
                </a:lnTo>
                <a:lnTo>
                  <a:pt x="1459" y="787"/>
                </a:lnTo>
                <a:lnTo>
                  <a:pt x="1454" y="790"/>
                </a:lnTo>
                <a:lnTo>
                  <a:pt x="1452" y="791"/>
                </a:lnTo>
                <a:lnTo>
                  <a:pt x="1449" y="792"/>
                </a:lnTo>
                <a:lnTo>
                  <a:pt x="1444" y="793"/>
                </a:lnTo>
                <a:lnTo>
                  <a:pt x="1443" y="795"/>
                </a:lnTo>
                <a:lnTo>
                  <a:pt x="1441" y="795"/>
                </a:lnTo>
                <a:lnTo>
                  <a:pt x="1440" y="795"/>
                </a:lnTo>
                <a:lnTo>
                  <a:pt x="1437" y="796"/>
                </a:lnTo>
                <a:lnTo>
                  <a:pt x="1436" y="796"/>
                </a:lnTo>
                <a:lnTo>
                  <a:pt x="1434" y="797"/>
                </a:lnTo>
                <a:lnTo>
                  <a:pt x="1432" y="797"/>
                </a:lnTo>
                <a:lnTo>
                  <a:pt x="1430" y="798"/>
                </a:lnTo>
                <a:lnTo>
                  <a:pt x="1426" y="798"/>
                </a:lnTo>
                <a:lnTo>
                  <a:pt x="1418" y="801"/>
                </a:lnTo>
                <a:lnTo>
                  <a:pt x="1396" y="803"/>
                </a:lnTo>
                <a:lnTo>
                  <a:pt x="1378" y="803"/>
                </a:lnTo>
                <a:lnTo>
                  <a:pt x="1361" y="802"/>
                </a:lnTo>
                <a:lnTo>
                  <a:pt x="1345" y="800"/>
                </a:lnTo>
                <a:lnTo>
                  <a:pt x="1339" y="798"/>
                </a:lnTo>
                <a:lnTo>
                  <a:pt x="1332" y="796"/>
                </a:lnTo>
                <a:lnTo>
                  <a:pt x="1330" y="796"/>
                </a:lnTo>
                <a:lnTo>
                  <a:pt x="1325" y="795"/>
                </a:lnTo>
                <a:lnTo>
                  <a:pt x="1322" y="793"/>
                </a:lnTo>
                <a:lnTo>
                  <a:pt x="1320" y="792"/>
                </a:lnTo>
                <a:lnTo>
                  <a:pt x="1316" y="791"/>
                </a:lnTo>
                <a:lnTo>
                  <a:pt x="1315" y="790"/>
                </a:lnTo>
                <a:lnTo>
                  <a:pt x="1310" y="787"/>
                </a:lnTo>
                <a:lnTo>
                  <a:pt x="1308" y="785"/>
                </a:lnTo>
                <a:lnTo>
                  <a:pt x="1305" y="784"/>
                </a:lnTo>
                <a:lnTo>
                  <a:pt x="1304" y="782"/>
                </a:lnTo>
                <a:lnTo>
                  <a:pt x="1303" y="781"/>
                </a:lnTo>
                <a:lnTo>
                  <a:pt x="1301" y="780"/>
                </a:lnTo>
                <a:lnTo>
                  <a:pt x="1297" y="776"/>
                </a:lnTo>
                <a:lnTo>
                  <a:pt x="1293" y="774"/>
                </a:lnTo>
                <a:lnTo>
                  <a:pt x="1288" y="769"/>
                </a:lnTo>
                <a:lnTo>
                  <a:pt x="1287" y="767"/>
                </a:lnTo>
                <a:lnTo>
                  <a:pt x="1285" y="765"/>
                </a:lnTo>
                <a:lnTo>
                  <a:pt x="1284" y="763"/>
                </a:lnTo>
                <a:lnTo>
                  <a:pt x="1281" y="761"/>
                </a:lnTo>
                <a:lnTo>
                  <a:pt x="1280" y="758"/>
                </a:lnTo>
                <a:lnTo>
                  <a:pt x="1280" y="757"/>
                </a:lnTo>
                <a:lnTo>
                  <a:pt x="1279" y="754"/>
                </a:lnTo>
                <a:lnTo>
                  <a:pt x="1276" y="752"/>
                </a:lnTo>
                <a:lnTo>
                  <a:pt x="1275" y="750"/>
                </a:lnTo>
                <a:lnTo>
                  <a:pt x="1274" y="747"/>
                </a:lnTo>
                <a:lnTo>
                  <a:pt x="1273" y="745"/>
                </a:lnTo>
                <a:lnTo>
                  <a:pt x="1273" y="742"/>
                </a:lnTo>
                <a:lnTo>
                  <a:pt x="1270" y="739"/>
                </a:lnTo>
                <a:lnTo>
                  <a:pt x="1270" y="737"/>
                </a:lnTo>
                <a:lnTo>
                  <a:pt x="1269" y="735"/>
                </a:lnTo>
                <a:lnTo>
                  <a:pt x="1267" y="730"/>
                </a:lnTo>
                <a:lnTo>
                  <a:pt x="1264" y="723"/>
                </a:lnTo>
                <a:lnTo>
                  <a:pt x="1264" y="721"/>
                </a:lnTo>
                <a:lnTo>
                  <a:pt x="1263" y="719"/>
                </a:lnTo>
                <a:lnTo>
                  <a:pt x="1262" y="713"/>
                </a:lnTo>
                <a:lnTo>
                  <a:pt x="1261" y="709"/>
                </a:lnTo>
                <a:lnTo>
                  <a:pt x="1261" y="707"/>
                </a:lnTo>
                <a:lnTo>
                  <a:pt x="1259" y="704"/>
                </a:lnTo>
                <a:lnTo>
                  <a:pt x="1259" y="702"/>
                </a:lnTo>
                <a:lnTo>
                  <a:pt x="1258" y="698"/>
                </a:lnTo>
                <a:lnTo>
                  <a:pt x="1258" y="696"/>
                </a:lnTo>
                <a:lnTo>
                  <a:pt x="1258" y="692"/>
                </a:lnTo>
                <a:lnTo>
                  <a:pt x="1257" y="689"/>
                </a:lnTo>
                <a:lnTo>
                  <a:pt x="1257" y="684"/>
                </a:lnTo>
                <a:lnTo>
                  <a:pt x="1256" y="679"/>
                </a:lnTo>
                <a:lnTo>
                  <a:pt x="1256" y="674"/>
                </a:lnTo>
                <a:lnTo>
                  <a:pt x="1255" y="667"/>
                </a:lnTo>
                <a:lnTo>
                  <a:pt x="1255" y="657"/>
                </a:lnTo>
                <a:lnTo>
                  <a:pt x="1253" y="638"/>
                </a:lnTo>
                <a:lnTo>
                  <a:pt x="1253" y="635"/>
                </a:lnTo>
                <a:lnTo>
                  <a:pt x="1253" y="631"/>
                </a:lnTo>
                <a:lnTo>
                  <a:pt x="1253" y="623"/>
                </a:lnTo>
                <a:lnTo>
                  <a:pt x="1253" y="591"/>
                </a:lnTo>
                <a:lnTo>
                  <a:pt x="1253" y="565"/>
                </a:lnTo>
                <a:lnTo>
                  <a:pt x="1253" y="540"/>
                </a:lnTo>
                <a:lnTo>
                  <a:pt x="1253" y="527"/>
                </a:lnTo>
                <a:lnTo>
                  <a:pt x="1256" y="515"/>
                </a:lnTo>
                <a:lnTo>
                  <a:pt x="1257" y="505"/>
                </a:lnTo>
                <a:lnTo>
                  <a:pt x="1261" y="496"/>
                </a:lnTo>
                <a:lnTo>
                  <a:pt x="1261" y="493"/>
                </a:lnTo>
                <a:lnTo>
                  <a:pt x="1261" y="492"/>
                </a:lnTo>
                <a:lnTo>
                  <a:pt x="1262" y="490"/>
                </a:lnTo>
                <a:lnTo>
                  <a:pt x="1262" y="488"/>
                </a:lnTo>
                <a:lnTo>
                  <a:pt x="1263" y="486"/>
                </a:lnTo>
                <a:lnTo>
                  <a:pt x="1264" y="482"/>
                </a:lnTo>
                <a:lnTo>
                  <a:pt x="1266" y="480"/>
                </a:lnTo>
                <a:lnTo>
                  <a:pt x="1269" y="474"/>
                </a:lnTo>
                <a:lnTo>
                  <a:pt x="1270" y="473"/>
                </a:lnTo>
                <a:lnTo>
                  <a:pt x="1272" y="470"/>
                </a:lnTo>
                <a:lnTo>
                  <a:pt x="1273" y="468"/>
                </a:lnTo>
                <a:lnTo>
                  <a:pt x="1273" y="465"/>
                </a:lnTo>
                <a:lnTo>
                  <a:pt x="1274" y="464"/>
                </a:lnTo>
                <a:lnTo>
                  <a:pt x="1276" y="460"/>
                </a:lnTo>
                <a:lnTo>
                  <a:pt x="1278" y="459"/>
                </a:lnTo>
                <a:lnTo>
                  <a:pt x="1279" y="458"/>
                </a:lnTo>
                <a:lnTo>
                  <a:pt x="1280" y="457"/>
                </a:lnTo>
                <a:lnTo>
                  <a:pt x="1281" y="454"/>
                </a:lnTo>
                <a:lnTo>
                  <a:pt x="1282" y="453"/>
                </a:lnTo>
                <a:lnTo>
                  <a:pt x="1285" y="451"/>
                </a:lnTo>
                <a:lnTo>
                  <a:pt x="1288" y="446"/>
                </a:lnTo>
                <a:lnTo>
                  <a:pt x="1295" y="440"/>
                </a:lnTo>
                <a:lnTo>
                  <a:pt x="1301" y="433"/>
                </a:lnTo>
                <a:lnTo>
                  <a:pt x="1304" y="430"/>
                </a:lnTo>
                <a:lnTo>
                  <a:pt x="1308" y="427"/>
                </a:lnTo>
                <a:lnTo>
                  <a:pt x="1310" y="425"/>
                </a:lnTo>
                <a:lnTo>
                  <a:pt x="1313" y="422"/>
                </a:lnTo>
                <a:lnTo>
                  <a:pt x="1315" y="421"/>
                </a:lnTo>
                <a:lnTo>
                  <a:pt x="1316" y="420"/>
                </a:lnTo>
                <a:lnTo>
                  <a:pt x="1319" y="419"/>
                </a:lnTo>
                <a:lnTo>
                  <a:pt x="1320" y="418"/>
                </a:lnTo>
                <a:lnTo>
                  <a:pt x="1322" y="416"/>
                </a:lnTo>
                <a:lnTo>
                  <a:pt x="1324" y="415"/>
                </a:lnTo>
                <a:lnTo>
                  <a:pt x="1326" y="414"/>
                </a:lnTo>
                <a:lnTo>
                  <a:pt x="1328" y="414"/>
                </a:lnTo>
                <a:lnTo>
                  <a:pt x="1330" y="413"/>
                </a:lnTo>
                <a:lnTo>
                  <a:pt x="1331" y="410"/>
                </a:lnTo>
                <a:lnTo>
                  <a:pt x="1334" y="409"/>
                </a:lnTo>
                <a:lnTo>
                  <a:pt x="1337" y="408"/>
                </a:lnTo>
                <a:lnTo>
                  <a:pt x="1339" y="407"/>
                </a:lnTo>
                <a:lnTo>
                  <a:pt x="1342" y="405"/>
                </a:lnTo>
                <a:lnTo>
                  <a:pt x="1344" y="404"/>
                </a:lnTo>
                <a:lnTo>
                  <a:pt x="1345" y="403"/>
                </a:lnTo>
                <a:lnTo>
                  <a:pt x="1348" y="402"/>
                </a:lnTo>
                <a:lnTo>
                  <a:pt x="1351" y="401"/>
                </a:lnTo>
                <a:lnTo>
                  <a:pt x="1355" y="399"/>
                </a:lnTo>
                <a:lnTo>
                  <a:pt x="1359" y="398"/>
                </a:lnTo>
                <a:lnTo>
                  <a:pt x="1360" y="397"/>
                </a:lnTo>
                <a:lnTo>
                  <a:pt x="1362" y="396"/>
                </a:lnTo>
                <a:lnTo>
                  <a:pt x="1365" y="394"/>
                </a:lnTo>
                <a:lnTo>
                  <a:pt x="1367" y="394"/>
                </a:lnTo>
                <a:lnTo>
                  <a:pt x="1368" y="393"/>
                </a:lnTo>
                <a:lnTo>
                  <a:pt x="1373" y="392"/>
                </a:lnTo>
                <a:lnTo>
                  <a:pt x="1376" y="391"/>
                </a:lnTo>
                <a:lnTo>
                  <a:pt x="1378" y="390"/>
                </a:lnTo>
                <a:lnTo>
                  <a:pt x="1379" y="390"/>
                </a:lnTo>
                <a:lnTo>
                  <a:pt x="1382" y="388"/>
                </a:lnTo>
                <a:lnTo>
                  <a:pt x="1383" y="388"/>
                </a:lnTo>
                <a:lnTo>
                  <a:pt x="1385" y="387"/>
                </a:lnTo>
                <a:lnTo>
                  <a:pt x="1386" y="387"/>
                </a:lnTo>
                <a:lnTo>
                  <a:pt x="1389" y="386"/>
                </a:lnTo>
                <a:lnTo>
                  <a:pt x="1390" y="386"/>
                </a:lnTo>
                <a:lnTo>
                  <a:pt x="1391" y="385"/>
                </a:lnTo>
                <a:lnTo>
                  <a:pt x="1396" y="385"/>
                </a:lnTo>
                <a:lnTo>
                  <a:pt x="1403" y="382"/>
                </a:lnTo>
                <a:lnTo>
                  <a:pt x="1408" y="381"/>
                </a:lnTo>
                <a:lnTo>
                  <a:pt x="1411" y="380"/>
                </a:lnTo>
                <a:lnTo>
                  <a:pt x="1413" y="380"/>
                </a:lnTo>
                <a:lnTo>
                  <a:pt x="1415" y="379"/>
                </a:lnTo>
                <a:lnTo>
                  <a:pt x="1418" y="379"/>
                </a:lnTo>
                <a:lnTo>
                  <a:pt x="1423" y="377"/>
                </a:lnTo>
                <a:lnTo>
                  <a:pt x="1426" y="376"/>
                </a:lnTo>
                <a:lnTo>
                  <a:pt x="1431" y="375"/>
                </a:lnTo>
                <a:lnTo>
                  <a:pt x="1435" y="375"/>
                </a:lnTo>
                <a:lnTo>
                  <a:pt x="1441" y="374"/>
                </a:lnTo>
                <a:lnTo>
                  <a:pt x="1446" y="372"/>
                </a:lnTo>
                <a:lnTo>
                  <a:pt x="1452" y="371"/>
                </a:lnTo>
                <a:lnTo>
                  <a:pt x="1458" y="370"/>
                </a:lnTo>
                <a:lnTo>
                  <a:pt x="1461" y="370"/>
                </a:lnTo>
                <a:lnTo>
                  <a:pt x="1466" y="370"/>
                </a:lnTo>
                <a:lnTo>
                  <a:pt x="1471" y="369"/>
                </a:lnTo>
                <a:lnTo>
                  <a:pt x="1476" y="369"/>
                </a:lnTo>
                <a:lnTo>
                  <a:pt x="1479" y="368"/>
                </a:lnTo>
                <a:lnTo>
                  <a:pt x="1485" y="368"/>
                </a:lnTo>
                <a:lnTo>
                  <a:pt x="1496" y="365"/>
                </a:lnTo>
                <a:lnTo>
                  <a:pt x="1496" y="333"/>
                </a:lnTo>
                <a:lnTo>
                  <a:pt x="1496" y="324"/>
                </a:lnTo>
                <a:lnTo>
                  <a:pt x="1496" y="320"/>
                </a:lnTo>
                <a:lnTo>
                  <a:pt x="1496" y="316"/>
                </a:lnTo>
                <a:lnTo>
                  <a:pt x="1496" y="311"/>
                </a:lnTo>
                <a:lnTo>
                  <a:pt x="1495" y="308"/>
                </a:lnTo>
                <a:lnTo>
                  <a:pt x="1495" y="305"/>
                </a:lnTo>
                <a:lnTo>
                  <a:pt x="1494" y="303"/>
                </a:lnTo>
                <a:lnTo>
                  <a:pt x="1494" y="302"/>
                </a:lnTo>
                <a:lnTo>
                  <a:pt x="1492" y="298"/>
                </a:lnTo>
                <a:lnTo>
                  <a:pt x="1490" y="296"/>
                </a:lnTo>
                <a:lnTo>
                  <a:pt x="1490" y="294"/>
                </a:lnTo>
                <a:lnTo>
                  <a:pt x="1487" y="291"/>
                </a:lnTo>
                <a:lnTo>
                  <a:pt x="1484" y="288"/>
                </a:lnTo>
                <a:lnTo>
                  <a:pt x="1477" y="285"/>
                </a:lnTo>
                <a:lnTo>
                  <a:pt x="1470" y="282"/>
                </a:lnTo>
                <a:lnTo>
                  <a:pt x="1461" y="281"/>
                </a:lnTo>
                <a:lnTo>
                  <a:pt x="1453" y="281"/>
                </a:lnTo>
                <a:lnTo>
                  <a:pt x="1435" y="282"/>
                </a:lnTo>
                <a:lnTo>
                  <a:pt x="1418" y="283"/>
                </a:lnTo>
                <a:lnTo>
                  <a:pt x="1408" y="285"/>
                </a:lnTo>
                <a:lnTo>
                  <a:pt x="1401" y="286"/>
                </a:lnTo>
                <a:lnTo>
                  <a:pt x="1396" y="286"/>
                </a:lnTo>
                <a:lnTo>
                  <a:pt x="1392" y="286"/>
                </a:lnTo>
                <a:lnTo>
                  <a:pt x="1389" y="287"/>
                </a:lnTo>
                <a:lnTo>
                  <a:pt x="1386" y="287"/>
                </a:lnTo>
                <a:lnTo>
                  <a:pt x="1383" y="288"/>
                </a:lnTo>
                <a:lnTo>
                  <a:pt x="1379" y="288"/>
                </a:lnTo>
                <a:lnTo>
                  <a:pt x="1373" y="291"/>
                </a:lnTo>
                <a:lnTo>
                  <a:pt x="1366" y="292"/>
                </a:lnTo>
                <a:lnTo>
                  <a:pt x="1362" y="292"/>
                </a:lnTo>
                <a:lnTo>
                  <a:pt x="1360" y="293"/>
                </a:lnTo>
                <a:lnTo>
                  <a:pt x="1357" y="293"/>
                </a:lnTo>
                <a:lnTo>
                  <a:pt x="1350" y="296"/>
                </a:lnTo>
                <a:lnTo>
                  <a:pt x="1348" y="296"/>
                </a:lnTo>
                <a:lnTo>
                  <a:pt x="1345" y="297"/>
                </a:lnTo>
                <a:lnTo>
                  <a:pt x="1343" y="297"/>
                </a:lnTo>
                <a:lnTo>
                  <a:pt x="1340" y="297"/>
                </a:lnTo>
                <a:lnTo>
                  <a:pt x="1338" y="298"/>
                </a:lnTo>
                <a:lnTo>
                  <a:pt x="1337" y="298"/>
                </a:lnTo>
                <a:lnTo>
                  <a:pt x="1330" y="300"/>
                </a:lnTo>
                <a:lnTo>
                  <a:pt x="1324" y="302"/>
                </a:lnTo>
                <a:lnTo>
                  <a:pt x="1319" y="303"/>
                </a:lnTo>
                <a:lnTo>
                  <a:pt x="1317" y="304"/>
                </a:lnTo>
                <a:lnTo>
                  <a:pt x="1311" y="305"/>
                </a:lnTo>
                <a:lnTo>
                  <a:pt x="1309" y="307"/>
                </a:lnTo>
                <a:lnTo>
                  <a:pt x="1273" y="319"/>
                </a:lnTo>
                <a:lnTo>
                  <a:pt x="1269" y="171"/>
                </a:lnTo>
                <a:lnTo>
                  <a:pt x="1274" y="170"/>
                </a:lnTo>
                <a:lnTo>
                  <a:pt x="1279" y="167"/>
                </a:lnTo>
                <a:lnTo>
                  <a:pt x="1282" y="167"/>
                </a:lnTo>
                <a:lnTo>
                  <a:pt x="1284" y="166"/>
                </a:lnTo>
                <a:lnTo>
                  <a:pt x="1286" y="166"/>
                </a:lnTo>
                <a:lnTo>
                  <a:pt x="1287" y="165"/>
                </a:lnTo>
                <a:lnTo>
                  <a:pt x="1293" y="164"/>
                </a:lnTo>
                <a:lnTo>
                  <a:pt x="1295" y="164"/>
                </a:lnTo>
                <a:lnTo>
                  <a:pt x="1297" y="163"/>
                </a:lnTo>
                <a:lnTo>
                  <a:pt x="1299" y="163"/>
                </a:lnTo>
                <a:lnTo>
                  <a:pt x="1301" y="161"/>
                </a:lnTo>
                <a:lnTo>
                  <a:pt x="1303" y="161"/>
                </a:lnTo>
                <a:lnTo>
                  <a:pt x="1320" y="156"/>
                </a:lnTo>
                <a:lnTo>
                  <a:pt x="1337" y="150"/>
                </a:lnTo>
                <a:lnTo>
                  <a:pt x="1344" y="150"/>
                </a:lnTo>
                <a:lnTo>
                  <a:pt x="1359" y="145"/>
                </a:lnTo>
                <a:lnTo>
                  <a:pt x="1366" y="144"/>
                </a:lnTo>
                <a:lnTo>
                  <a:pt x="1373" y="142"/>
                </a:lnTo>
                <a:lnTo>
                  <a:pt x="1382" y="141"/>
                </a:lnTo>
                <a:lnTo>
                  <a:pt x="1388" y="139"/>
                </a:lnTo>
                <a:lnTo>
                  <a:pt x="1395" y="138"/>
                </a:lnTo>
                <a:lnTo>
                  <a:pt x="1401" y="137"/>
                </a:lnTo>
                <a:lnTo>
                  <a:pt x="1407" y="136"/>
                </a:lnTo>
                <a:lnTo>
                  <a:pt x="1414" y="136"/>
                </a:lnTo>
                <a:lnTo>
                  <a:pt x="1421" y="134"/>
                </a:lnTo>
                <a:lnTo>
                  <a:pt x="1426" y="133"/>
                </a:lnTo>
                <a:lnTo>
                  <a:pt x="1432" y="132"/>
                </a:lnTo>
                <a:lnTo>
                  <a:pt x="1438" y="132"/>
                </a:lnTo>
                <a:lnTo>
                  <a:pt x="1444" y="131"/>
                </a:lnTo>
                <a:lnTo>
                  <a:pt x="1449" y="131"/>
                </a:lnTo>
                <a:lnTo>
                  <a:pt x="1456" y="130"/>
                </a:lnTo>
                <a:lnTo>
                  <a:pt x="1475" y="128"/>
                </a:lnTo>
                <a:lnTo>
                  <a:pt x="1479" y="128"/>
                </a:lnTo>
                <a:lnTo>
                  <a:pt x="1485" y="127"/>
                </a:lnTo>
                <a:lnTo>
                  <a:pt x="1498" y="128"/>
                </a:lnTo>
                <a:lnTo>
                  <a:pt x="1504" y="128"/>
                </a:lnTo>
                <a:lnTo>
                  <a:pt x="1508" y="128"/>
                </a:lnTo>
                <a:lnTo>
                  <a:pt x="1515" y="128"/>
                </a:lnTo>
                <a:lnTo>
                  <a:pt x="1519" y="130"/>
                </a:lnTo>
                <a:lnTo>
                  <a:pt x="1528" y="130"/>
                </a:lnTo>
                <a:lnTo>
                  <a:pt x="1534" y="130"/>
                </a:lnTo>
                <a:lnTo>
                  <a:pt x="1539" y="131"/>
                </a:lnTo>
                <a:lnTo>
                  <a:pt x="1544" y="131"/>
                </a:lnTo>
                <a:lnTo>
                  <a:pt x="1548" y="132"/>
                </a:lnTo>
                <a:lnTo>
                  <a:pt x="1562" y="134"/>
                </a:lnTo>
                <a:lnTo>
                  <a:pt x="1564" y="134"/>
                </a:lnTo>
                <a:lnTo>
                  <a:pt x="1571" y="136"/>
                </a:lnTo>
                <a:lnTo>
                  <a:pt x="1577" y="138"/>
                </a:lnTo>
                <a:lnTo>
                  <a:pt x="1580" y="138"/>
                </a:lnTo>
                <a:lnTo>
                  <a:pt x="1582" y="139"/>
                </a:lnTo>
                <a:lnTo>
                  <a:pt x="1583" y="139"/>
                </a:lnTo>
                <a:lnTo>
                  <a:pt x="1586" y="141"/>
                </a:lnTo>
                <a:lnTo>
                  <a:pt x="1587" y="141"/>
                </a:lnTo>
                <a:lnTo>
                  <a:pt x="1591" y="142"/>
                </a:lnTo>
                <a:lnTo>
                  <a:pt x="1593" y="143"/>
                </a:lnTo>
                <a:lnTo>
                  <a:pt x="1597" y="144"/>
                </a:lnTo>
                <a:lnTo>
                  <a:pt x="1599" y="145"/>
                </a:lnTo>
                <a:lnTo>
                  <a:pt x="1602" y="147"/>
                </a:lnTo>
                <a:lnTo>
                  <a:pt x="1604" y="148"/>
                </a:lnTo>
                <a:lnTo>
                  <a:pt x="1606" y="149"/>
                </a:lnTo>
                <a:lnTo>
                  <a:pt x="1611" y="152"/>
                </a:lnTo>
                <a:lnTo>
                  <a:pt x="1616" y="154"/>
                </a:lnTo>
                <a:lnTo>
                  <a:pt x="1618" y="155"/>
                </a:lnTo>
                <a:lnTo>
                  <a:pt x="1621" y="156"/>
                </a:lnTo>
                <a:lnTo>
                  <a:pt x="1623" y="159"/>
                </a:lnTo>
                <a:lnTo>
                  <a:pt x="1624" y="160"/>
                </a:lnTo>
                <a:lnTo>
                  <a:pt x="1626" y="161"/>
                </a:lnTo>
                <a:lnTo>
                  <a:pt x="1628" y="164"/>
                </a:lnTo>
                <a:lnTo>
                  <a:pt x="1631" y="165"/>
                </a:lnTo>
                <a:lnTo>
                  <a:pt x="1633" y="165"/>
                </a:lnTo>
                <a:lnTo>
                  <a:pt x="1635" y="169"/>
                </a:lnTo>
                <a:lnTo>
                  <a:pt x="1641" y="175"/>
                </a:lnTo>
                <a:lnTo>
                  <a:pt x="1646" y="180"/>
                </a:lnTo>
                <a:lnTo>
                  <a:pt x="1650" y="183"/>
                </a:lnTo>
                <a:lnTo>
                  <a:pt x="1651" y="186"/>
                </a:lnTo>
                <a:lnTo>
                  <a:pt x="1654" y="188"/>
                </a:lnTo>
                <a:lnTo>
                  <a:pt x="1655" y="191"/>
                </a:lnTo>
                <a:lnTo>
                  <a:pt x="1656" y="192"/>
                </a:lnTo>
                <a:lnTo>
                  <a:pt x="1657" y="194"/>
                </a:lnTo>
                <a:lnTo>
                  <a:pt x="1658" y="195"/>
                </a:lnTo>
                <a:lnTo>
                  <a:pt x="1660" y="197"/>
                </a:lnTo>
                <a:lnTo>
                  <a:pt x="1661" y="199"/>
                </a:lnTo>
                <a:lnTo>
                  <a:pt x="1662" y="202"/>
                </a:lnTo>
                <a:lnTo>
                  <a:pt x="1663" y="204"/>
                </a:lnTo>
                <a:lnTo>
                  <a:pt x="1664" y="205"/>
                </a:lnTo>
                <a:lnTo>
                  <a:pt x="1664" y="208"/>
                </a:lnTo>
                <a:lnTo>
                  <a:pt x="1667" y="211"/>
                </a:lnTo>
                <a:lnTo>
                  <a:pt x="1667" y="213"/>
                </a:lnTo>
                <a:lnTo>
                  <a:pt x="1669" y="216"/>
                </a:lnTo>
                <a:lnTo>
                  <a:pt x="1669" y="219"/>
                </a:lnTo>
                <a:lnTo>
                  <a:pt x="1672" y="222"/>
                </a:lnTo>
                <a:lnTo>
                  <a:pt x="1672" y="224"/>
                </a:lnTo>
                <a:lnTo>
                  <a:pt x="1680" y="252"/>
                </a:lnTo>
                <a:lnTo>
                  <a:pt x="1685" y="280"/>
                </a:lnTo>
                <a:lnTo>
                  <a:pt x="1687" y="302"/>
                </a:lnTo>
                <a:lnTo>
                  <a:pt x="1687" y="313"/>
                </a:lnTo>
                <a:lnTo>
                  <a:pt x="1687" y="319"/>
                </a:lnTo>
                <a:lnTo>
                  <a:pt x="1687" y="326"/>
                </a:lnTo>
                <a:lnTo>
                  <a:pt x="1687" y="349"/>
                </a:lnTo>
                <a:lnTo>
                  <a:pt x="1687" y="426"/>
                </a:lnTo>
                <a:lnTo>
                  <a:pt x="1687" y="793"/>
                </a:lnTo>
                <a:lnTo>
                  <a:pt x="1684" y="793"/>
                </a:lnTo>
                <a:lnTo>
                  <a:pt x="1680" y="793"/>
                </a:lnTo>
                <a:lnTo>
                  <a:pt x="1670" y="793"/>
                </a:lnTo>
                <a:lnTo>
                  <a:pt x="1634" y="793"/>
                </a:lnTo>
                <a:lnTo>
                  <a:pt x="1512" y="793"/>
                </a:lnTo>
                <a:close/>
                <a:moveTo>
                  <a:pt x="729" y="128"/>
                </a:moveTo>
                <a:lnTo>
                  <a:pt x="745" y="128"/>
                </a:lnTo>
                <a:lnTo>
                  <a:pt x="760" y="128"/>
                </a:lnTo>
                <a:lnTo>
                  <a:pt x="775" y="130"/>
                </a:lnTo>
                <a:lnTo>
                  <a:pt x="789" y="131"/>
                </a:lnTo>
                <a:lnTo>
                  <a:pt x="804" y="133"/>
                </a:lnTo>
                <a:lnTo>
                  <a:pt x="816" y="136"/>
                </a:lnTo>
                <a:lnTo>
                  <a:pt x="828" y="139"/>
                </a:lnTo>
                <a:lnTo>
                  <a:pt x="840" y="144"/>
                </a:lnTo>
                <a:lnTo>
                  <a:pt x="844" y="144"/>
                </a:lnTo>
                <a:lnTo>
                  <a:pt x="846" y="145"/>
                </a:lnTo>
                <a:lnTo>
                  <a:pt x="850" y="147"/>
                </a:lnTo>
                <a:lnTo>
                  <a:pt x="852" y="149"/>
                </a:lnTo>
                <a:lnTo>
                  <a:pt x="856" y="150"/>
                </a:lnTo>
                <a:lnTo>
                  <a:pt x="859" y="152"/>
                </a:lnTo>
                <a:lnTo>
                  <a:pt x="864" y="154"/>
                </a:lnTo>
                <a:lnTo>
                  <a:pt x="865" y="155"/>
                </a:lnTo>
                <a:lnTo>
                  <a:pt x="868" y="156"/>
                </a:lnTo>
                <a:lnTo>
                  <a:pt x="869" y="158"/>
                </a:lnTo>
                <a:lnTo>
                  <a:pt x="871" y="159"/>
                </a:lnTo>
                <a:lnTo>
                  <a:pt x="875" y="160"/>
                </a:lnTo>
                <a:lnTo>
                  <a:pt x="876" y="161"/>
                </a:lnTo>
                <a:lnTo>
                  <a:pt x="879" y="163"/>
                </a:lnTo>
                <a:lnTo>
                  <a:pt x="880" y="164"/>
                </a:lnTo>
                <a:lnTo>
                  <a:pt x="881" y="165"/>
                </a:lnTo>
                <a:lnTo>
                  <a:pt x="882" y="166"/>
                </a:lnTo>
                <a:lnTo>
                  <a:pt x="885" y="167"/>
                </a:lnTo>
                <a:lnTo>
                  <a:pt x="887" y="170"/>
                </a:lnTo>
                <a:lnTo>
                  <a:pt x="890" y="171"/>
                </a:lnTo>
                <a:lnTo>
                  <a:pt x="891" y="172"/>
                </a:lnTo>
                <a:lnTo>
                  <a:pt x="893" y="175"/>
                </a:lnTo>
                <a:lnTo>
                  <a:pt x="898" y="180"/>
                </a:lnTo>
                <a:lnTo>
                  <a:pt x="904" y="185"/>
                </a:lnTo>
                <a:lnTo>
                  <a:pt x="910" y="191"/>
                </a:lnTo>
                <a:lnTo>
                  <a:pt x="911" y="193"/>
                </a:lnTo>
                <a:lnTo>
                  <a:pt x="915" y="195"/>
                </a:lnTo>
                <a:lnTo>
                  <a:pt x="917" y="199"/>
                </a:lnTo>
                <a:lnTo>
                  <a:pt x="920" y="202"/>
                </a:lnTo>
                <a:lnTo>
                  <a:pt x="922" y="204"/>
                </a:lnTo>
                <a:lnTo>
                  <a:pt x="923" y="206"/>
                </a:lnTo>
                <a:lnTo>
                  <a:pt x="925" y="209"/>
                </a:lnTo>
                <a:lnTo>
                  <a:pt x="926" y="210"/>
                </a:lnTo>
                <a:lnTo>
                  <a:pt x="926" y="211"/>
                </a:lnTo>
                <a:lnTo>
                  <a:pt x="928" y="214"/>
                </a:lnTo>
                <a:lnTo>
                  <a:pt x="929" y="215"/>
                </a:lnTo>
                <a:lnTo>
                  <a:pt x="931" y="217"/>
                </a:lnTo>
                <a:lnTo>
                  <a:pt x="931" y="220"/>
                </a:lnTo>
                <a:lnTo>
                  <a:pt x="933" y="222"/>
                </a:lnTo>
                <a:lnTo>
                  <a:pt x="934" y="225"/>
                </a:lnTo>
                <a:lnTo>
                  <a:pt x="936" y="227"/>
                </a:lnTo>
                <a:lnTo>
                  <a:pt x="937" y="230"/>
                </a:lnTo>
                <a:lnTo>
                  <a:pt x="939" y="233"/>
                </a:lnTo>
                <a:lnTo>
                  <a:pt x="939" y="235"/>
                </a:lnTo>
                <a:lnTo>
                  <a:pt x="940" y="237"/>
                </a:lnTo>
                <a:lnTo>
                  <a:pt x="942" y="238"/>
                </a:lnTo>
                <a:lnTo>
                  <a:pt x="943" y="241"/>
                </a:lnTo>
                <a:lnTo>
                  <a:pt x="944" y="244"/>
                </a:lnTo>
                <a:lnTo>
                  <a:pt x="945" y="247"/>
                </a:lnTo>
                <a:lnTo>
                  <a:pt x="946" y="249"/>
                </a:lnTo>
                <a:lnTo>
                  <a:pt x="946" y="250"/>
                </a:lnTo>
                <a:lnTo>
                  <a:pt x="949" y="254"/>
                </a:lnTo>
                <a:lnTo>
                  <a:pt x="949" y="257"/>
                </a:lnTo>
                <a:lnTo>
                  <a:pt x="951" y="261"/>
                </a:lnTo>
                <a:lnTo>
                  <a:pt x="954" y="267"/>
                </a:lnTo>
                <a:lnTo>
                  <a:pt x="954" y="269"/>
                </a:lnTo>
                <a:lnTo>
                  <a:pt x="954" y="271"/>
                </a:lnTo>
                <a:lnTo>
                  <a:pt x="955" y="272"/>
                </a:lnTo>
                <a:lnTo>
                  <a:pt x="956" y="278"/>
                </a:lnTo>
                <a:lnTo>
                  <a:pt x="957" y="282"/>
                </a:lnTo>
                <a:lnTo>
                  <a:pt x="960" y="289"/>
                </a:lnTo>
                <a:lnTo>
                  <a:pt x="961" y="294"/>
                </a:lnTo>
                <a:lnTo>
                  <a:pt x="962" y="300"/>
                </a:lnTo>
                <a:lnTo>
                  <a:pt x="965" y="311"/>
                </a:lnTo>
                <a:lnTo>
                  <a:pt x="965" y="314"/>
                </a:lnTo>
                <a:lnTo>
                  <a:pt x="966" y="318"/>
                </a:lnTo>
                <a:lnTo>
                  <a:pt x="966" y="321"/>
                </a:lnTo>
                <a:lnTo>
                  <a:pt x="967" y="325"/>
                </a:lnTo>
                <a:lnTo>
                  <a:pt x="967" y="330"/>
                </a:lnTo>
                <a:lnTo>
                  <a:pt x="968" y="333"/>
                </a:lnTo>
                <a:lnTo>
                  <a:pt x="968" y="338"/>
                </a:lnTo>
                <a:lnTo>
                  <a:pt x="969" y="343"/>
                </a:lnTo>
                <a:lnTo>
                  <a:pt x="969" y="349"/>
                </a:lnTo>
                <a:lnTo>
                  <a:pt x="969" y="355"/>
                </a:lnTo>
                <a:lnTo>
                  <a:pt x="971" y="369"/>
                </a:lnTo>
                <a:lnTo>
                  <a:pt x="971" y="375"/>
                </a:lnTo>
                <a:lnTo>
                  <a:pt x="972" y="380"/>
                </a:lnTo>
                <a:lnTo>
                  <a:pt x="972" y="386"/>
                </a:lnTo>
                <a:lnTo>
                  <a:pt x="972" y="399"/>
                </a:lnTo>
                <a:lnTo>
                  <a:pt x="972" y="480"/>
                </a:lnTo>
                <a:lnTo>
                  <a:pt x="972" y="551"/>
                </a:lnTo>
                <a:lnTo>
                  <a:pt x="972" y="559"/>
                </a:lnTo>
                <a:lnTo>
                  <a:pt x="972" y="564"/>
                </a:lnTo>
                <a:lnTo>
                  <a:pt x="971" y="568"/>
                </a:lnTo>
                <a:lnTo>
                  <a:pt x="971" y="573"/>
                </a:lnTo>
                <a:lnTo>
                  <a:pt x="971" y="579"/>
                </a:lnTo>
                <a:lnTo>
                  <a:pt x="971" y="587"/>
                </a:lnTo>
                <a:lnTo>
                  <a:pt x="969" y="593"/>
                </a:lnTo>
                <a:lnTo>
                  <a:pt x="969" y="599"/>
                </a:lnTo>
                <a:lnTo>
                  <a:pt x="968" y="604"/>
                </a:lnTo>
                <a:lnTo>
                  <a:pt x="968" y="609"/>
                </a:lnTo>
                <a:lnTo>
                  <a:pt x="967" y="618"/>
                </a:lnTo>
                <a:lnTo>
                  <a:pt x="966" y="625"/>
                </a:lnTo>
                <a:lnTo>
                  <a:pt x="965" y="632"/>
                </a:lnTo>
                <a:lnTo>
                  <a:pt x="962" y="642"/>
                </a:lnTo>
                <a:lnTo>
                  <a:pt x="961" y="648"/>
                </a:lnTo>
                <a:lnTo>
                  <a:pt x="960" y="653"/>
                </a:lnTo>
                <a:lnTo>
                  <a:pt x="959" y="658"/>
                </a:lnTo>
                <a:lnTo>
                  <a:pt x="952" y="676"/>
                </a:lnTo>
                <a:lnTo>
                  <a:pt x="951" y="681"/>
                </a:lnTo>
                <a:lnTo>
                  <a:pt x="950" y="686"/>
                </a:lnTo>
                <a:lnTo>
                  <a:pt x="949" y="690"/>
                </a:lnTo>
                <a:lnTo>
                  <a:pt x="948" y="692"/>
                </a:lnTo>
                <a:lnTo>
                  <a:pt x="946" y="693"/>
                </a:lnTo>
                <a:lnTo>
                  <a:pt x="945" y="696"/>
                </a:lnTo>
                <a:lnTo>
                  <a:pt x="945" y="697"/>
                </a:lnTo>
                <a:lnTo>
                  <a:pt x="943" y="701"/>
                </a:lnTo>
                <a:lnTo>
                  <a:pt x="942" y="703"/>
                </a:lnTo>
                <a:lnTo>
                  <a:pt x="940" y="706"/>
                </a:lnTo>
                <a:lnTo>
                  <a:pt x="939" y="708"/>
                </a:lnTo>
                <a:lnTo>
                  <a:pt x="939" y="710"/>
                </a:lnTo>
                <a:lnTo>
                  <a:pt x="938" y="713"/>
                </a:lnTo>
                <a:lnTo>
                  <a:pt x="936" y="717"/>
                </a:lnTo>
                <a:lnTo>
                  <a:pt x="934" y="719"/>
                </a:lnTo>
                <a:lnTo>
                  <a:pt x="932" y="721"/>
                </a:lnTo>
                <a:lnTo>
                  <a:pt x="931" y="724"/>
                </a:lnTo>
                <a:lnTo>
                  <a:pt x="929" y="726"/>
                </a:lnTo>
                <a:lnTo>
                  <a:pt x="928" y="728"/>
                </a:lnTo>
                <a:lnTo>
                  <a:pt x="926" y="729"/>
                </a:lnTo>
                <a:lnTo>
                  <a:pt x="925" y="731"/>
                </a:lnTo>
                <a:lnTo>
                  <a:pt x="923" y="734"/>
                </a:lnTo>
                <a:lnTo>
                  <a:pt x="922" y="736"/>
                </a:lnTo>
                <a:lnTo>
                  <a:pt x="920" y="737"/>
                </a:lnTo>
                <a:lnTo>
                  <a:pt x="919" y="740"/>
                </a:lnTo>
                <a:lnTo>
                  <a:pt x="917" y="742"/>
                </a:lnTo>
                <a:lnTo>
                  <a:pt x="913" y="746"/>
                </a:lnTo>
                <a:lnTo>
                  <a:pt x="908" y="752"/>
                </a:lnTo>
                <a:lnTo>
                  <a:pt x="902" y="758"/>
                </a:lnTo>
                <a:lnTo>
                  <a:pt x="897" y="763"/>
                </a:lnTo>
                <a:lnTo>
                  <a:pt x="896" y="763"/>
                </a:lnTo>
                <a:lnTo>
                  <a:pt x="894" y="765"/>
                </a:lnTo>
                <a:lnTo>
                  <a:pt x="892" y="767"/>
                </a:lnTo>
                <a:lnTo>
                  <a:pt x="890" y="769"/>
                </a:lnTo>
                <a:lnTo>
                  <a:pt x="887" y="770"/>
                </a:lnTo>
                <a:lnTo>
                  <a:pt x="885" y="772"/>
                </a:lnTo>
                <a:lnTo>
                  <a:pt x="884" y="773"/>
                </a:lnTo>
                <a:lnTo>
                  <a:pt x="881" y="774"/>
                </a:lnTo>
                <a:lnTo>
                  <a:pt x="880" y="775"/>
                </a:lnTo>
                <a:lnTo>
                  <a:pt x="878" y="776"/>
                </a:lnTo>
                <a:lnTo>
                  <a:pt x="875" y="778"/>
                </a:lnTo>
                <a:lnTo>
                  <a:pt x="871" y="780"/>
                </a:lnTo>
                <a:lnTo>
                  <a:pt x="870" y="780"/>
                </a:lnTo>
                <a:lnTo>
                  <a:pt x="868" y="781"/>
                </a:lnTo>
                <a:lnTo>
                  <a:pt x="865" y="782"/>
                </a:lnTo>
                <a:lnTo>
                  <a:pt x="863" y="784"/>
                </a:lnTo>
                <a:lnTo>
                  <a:pt x="858" y="786"/>
                </a:lnTo>
                <a:lnTo>
                  <a:pt x="856" y="787"/>
                </a:lnTo>
                <a:lnTo>
                  <a:pt x="852" y="789"/>
                </a:lnTo>
                <a:lnTo>
                  <a:pt x="851" y="790"/>
                </a:lnTo>
                <a:lnTo>
                  <a:pt x="847" y="791"/>
                </a:lnTo>
                <a:lnTo>
                  <a:pt x="834" y="796"/>
                </a:lnTo>
                <a:lnTo>
                  <a:pt x="832" y="796"/>
                </a:lnTo>
                <a:lnTo>
                  <a:pt x="829" y="797"/>
                </a:lnTo>
                <a:lnTo>
                  <a:pt x="823" y="798"/>
                </a:lnTo>
                <a:lnTo>
                  <a:pt x="816" y="801"/>
                </a:lnTo>
                <a:lnTo>
                  <a:pt x="812" y="801"/>
                </a:lnTo>
                <a:lnTo>
                  <a:pt x="803" y="803"/>
                </a:lnTo>
                <a:lnTo>
                  <a:pt x="799" y="803"/>
                </a:lnTo>
                <a:lnTo>
                  <a:pt x="795" y="804"/>
                </a:lnTo>
                <a:lnTo>
                  <a:pt x="792" y="804"/>
                </a:lnTo>
                <a:lnTo>
                  <a:pt x="786" y="806"/>
                </a:lnTo>
                <a:lnTo>
                  <a:pt x="780" y="806"/>
                </a:lnTo>
                <a:lnTo>
                  <a:pt x="772" y="807"/>
                </a:lnTo>
                <a:lnTo>
                  <a:pt x="741" y="808"/>
                </a:lnTo>
                <a:lnTo>
                  <a:pt x="734" y="808"/>
                </a:lnTo>
                <a:lnTo>
                  <a:pt x="728" y="807"/>
                </a:lnTo>
                <a:lnTo>
                  <a:pt x="724" y="807"/>
                </a:lnTo>
                <a:lnTo>
                  <a:pt x="722" y="807"/>
                </a:lnTo>
                <a:lnTo>
                  <a:pt x="718" y="807"/>
                </a:lnTo>
                <a:lnTo>
                  <a:pt x="714" y="807"/>
                </a:lnTo>
                <a:lnTo>
                  <a:pt x="707" y="807"/>
                </a:lnTo>
                <a:lnTo>
                  <a:pt x="701" y="806"/>
                </a:lnTo>
                <a:lnTo>
                  <a:pt x="695" y="806"/>
                </a:lnTo>
                <a:lnTo>
                  <a:pt x="691" y="804"/>
                </a:lnTo>
                <a:lnTo>
                  <a:pt x="687" y="804"/>
                </a:lnTo>
                <a:lnTo>
                  <a:pt x="683" y="803"/>
                </a:lnTo>
                <a:lnTo>
                  <a:pt x="679" y="803"/>
                </a:lnTo>
                <a:lnTo>
                  <a:pt x="676" y="802"/>
                </a:lnTo>
                <a:lnTo>
                  <a:pt x="673" y="802"/>
                </a:lnTo>
                <a:lnTo>
                  <a:pt x="670" y="801"/>
                </a:lnTo>
                <a:lnTo>
                  <a:pt x="667" y="801"/>
                </a:lnTo>
                <a:lnTo>
                  <a:pt x="658" y="798"/>
                </a:lnTo>
                <a:lnTo>
                  <a:pt x="635" y="791"/>
                </a:lnTo>
                <a:lnTo>
                  <a:pt x="632" y="790"/>
                </a:lnTo>
                <a:lnTo>
                  <a:pt x="612" y="779"/>
                </a:lnTo>
                <a:lnTo>
                  <a:pt x="608" y="778"/>
                </a:lnTo>
                <a:lnTo>
                  <a:pt x="607" y="776"/>
                </a:lnTo>
                <a:lnTo>
                  <a:pt x="606" y="775"/>
                </a:lnTo>
                <a:lnTo>
                  <a:pt x="603" y="774"/>
                </a:lnTo>
                <a:lnTo>
                  <a:pt x="602" y="773"/>
                </a:lnTo>
                <a:lnTo>
                  <a:pt x="600" y="772"/>
                </a:lnTo>
                <a:lnTo>
                  <a:pt x="598" y="769"/>
                </a:lnTo>
                <a:lnTo>
                  <a:pt x="596" y="768"/>
                </a:lnTo>
                <a:lnTo>
                  <a:pt x="593" y="765"/>
                </a:lnTo>
                <a:lnTo>
                  <a:pt x="590" y="763"/>
                </a:lnTo>
                <a:lnTo>
                  <a:pt x="584" y="757"/>
                </a:lnTo>
                <a:lnTo>
                  <a:pt x="581" y="756"/>
                </a:lnTo>
                <a:lnTo>
                  <a:pt x="579" y="753"/>
                </a:lnTo>
                <a:lnTo>
                  <a:pt x="573" y="746"/>
                </a:lnTo>
                <a:lnTo>
                  <a:pt x="569" y="742"/>
                </a:lnTo>
                <a:lnTo>
                  <a:pt x="567" y="740"/>
                </a:lnTo>
                <a:lnTo>
                  <a:pt x="566" y="737"/>
                </a:lnTo>
                <a:lnTo>
                  <a:pt x="564" y="736"/>
                </a:lnTo>
                <a:lnTo>
                  <a:pt x="563" y="734"/>
                </a:lnTo>
                <a:lnTo>
                  <a:pt x="562" y="732"/>
                </a:lnTo>
                <a:lnTo>
                  <a:pt x="561" y="731"/>
                </a:lnTo>
                <a:lnTo>
                  <a:pt x="560" y="729"/>
                </a:lnTo>
                <a:lnTo>
                  <a:pt x="558" y="728"/>
                </a:lnTo>
                <a:lnTo>
                  <a:pt x="558" y="725"/>
                </a:lnTo>
                <a:lnTo>
                  <a:pt x="557" y="723"/>
                </a:lnTo>
                <a:lnTo>
                  <a:pt x="555" y="720"/>
                </a:lnTo>
                <a:lnTo>
                  <a:pt x="552" y="717"/>
                </a:lnTo>
                <a:lnTo>
                  <a:pt x="551" y="714"/>
                </a:lnTo>
                <a:lnTo>
                  <a:pt x="550" y="712"/>
                </a:lnTo>
                <a:lnTo>
                  <a:pt x="549" y="709"/>
                </a:lnTo>
                <a:lnTo>
                  <a:pt x="548" y="707"/>
                </a:lnTo>
                <a:lnTo>
                  <a:pt x="548" y="706"/>
                </a:lnTo>
                <a:lnTo>
                  <a:pt x="545" y="702"/>
                </a:lnTo>
                <a:lnTo>
                  <a:pt x="544" y="698"/>
                </a:lnTo>
                <a:lnTo>
                  <a:pt x="543" y="696"/>
                </a:lnTo>
                <a:lnTo>
                  <a:pt x="543" y="695"/>
                </a:lnTo>
                <a:lnTo>
                  <a:pt x="540" y="691"/>
                </a:lnTo>
                <a:lnTo>
                  <a:pt x="540" y="689"/>
                </a:lnTo>
                <a:lnTo>
                  <a:pt x="538" y="682"/>
                </a:lnTo>
                <a:lnTo>
                  <a:pt x="528" y="651"/>
                </a:lnTo>
                <a:lnTo>
                  <a:pt x="528" y="648"/>
                </a:lnTo>
                <a:lnTo>
                  <a:pt x="526" y="638"/>
                </a:lnTo>
                <a:lnTo>
                  <a:pt x="523" y="630"/>
                </a:lnTo>
                <a:lnTo>
                  <a:pt x="523" y="623"/>
                </a:lnTo>
                <a:lnTo>
                  <a:pt x="522" y="619"/>
                </a:lnTo>
                <a:lnTo>
                  <a:pt x="522" y="615"/>
                </a:lnTo>
                <a:lnTo>
                  <a:pt x="521" y="610"/>
                </a:lnTo>
                <a:lnTo>
                  <a:pt x="521" y="606"/>
                </a:lnTo>
                <a:lnTo>
                  <a:pt x="520" y="601"/>
                </a:lnTo>
                <a:lnTo>
                  <a:pt x="520" y="593"/>
                </a:lnTo>
                <a:lnTo>
                  <a:pt x="519" y="587"/>
                </a:lnTo>
                <a:lnTo>
                  <a:pt x="519" y="577"/>
                </a:lnTo>
                <a:lnTo>
                  <a:pt x="519" y="573"/>
                </a:lnTo>
                <a:lnTo>
                  <a:pt x="519" y="566"/>
                </a:lnTo>
                <a:lnTo>
                  <a:pt x="517" y="562"/>
                </a:lnTo>
                <a:lnTo>
                  <a:pt x="517" y="557"/>
                </a:lnTo>
                <a:lnTo>
                  <a:pt x="517" y="546"/>
                </a:lnTo>
                <a:lnTo>
                  <a:pt x="517" y="483"/>
                </a:lnTo>
                <a:lnTo>
                  <a:pt x="517" y="399"/>
                </a:lnTo>
                <a:lnTo>
                  <a:pt x="517" y="387"/>
                </a:lnTo>
                <a:lnTo>
                  <a:pt x="517" y="382"/>
                </a:lnTo>
                <a:lnTo>
                  <a:pt x="517" y="380"/>
                </a:lnTo>
                <a:lnTo>
                  <a:pt x="519" y="377"/>
                </a:lnTo>
                <a:lnTo>
                  <a:pt x="519" y="374"/>
                </a:lnTo>
                <a:lnTo>
                  <a:pt x="519" y="371"/>
                </a:lnTo>
                <a:lnTo>
                  <a:pt x="519" y="368"/>
                </a:lnTo>
                <a:lnTo>
                  <a:pt x="519" y="365"/>
                </a:lnTo>
                <a:lnTo>
                  <a:pt x="519" y="357"/>
                </a:lnTo>
                <a:lnTo>
                  <a:pt x="519" y="350"/>
                </a:lnTo>
                <a:lnTo>
                  <a:pt x="520" y="344"/>
                </a:lnTo>
                <a:lnTo>
                  <a:pt x="521" y="339"/>
                </a:lnTo>
                <a:lnTo>
                  <a:pt x="521" y="335"/>
                </a:lnTo>
                <a:lnTo>
                  <a:pt x="522" y="330"/>
                </a:lnTo>
                <a:lnTo>
                  <a:pt x="522" y="326"/>
                </a:lnTo>
                <a:lnTo>
                  <a:pt x="523" y="318"/>
                </a:lnTo>
                <a:lnTo>
                  <a:pt x="525" y="311"/>
                </a:lnTo>
                <a:lnTo>
                  <a:pt x="526" y="305"/>
                </a:lnTo>
                <a:lnTo>
                  <a:pt x="526" y="303"/>
                </a:lnTo>
                <a:lnTo>
                  <a:pt x="527" y="299"/>
                </a:lnTo>
                <a:lnTo>
                  <a:pt x="527" y="297"/>
                </a:lnTo>
                <a:lnTo>
                  <a:pt x="528" y="296"/>
                </a:lnTo>
                <a:lnTo>
                  <a:pt x="529" y="289"/>
                </a:lnTo>
                <a:lnTo>
                  <a:pt x="531" y="283"/>
                </a:lnTo>
                <a:lnTo>
                  <a:pt x="532" y="282"/>
                </a:lnTo>
                <a:lnTo>
                  <a:pt x="533" y="277"/>
                </a:lnTo>
                <a:lnTo>
                  <a:pt x="533" y="275"/>
                </a:lnTo>
                <a:lnTo>
                  <a:pt x="533" y="274"/>
                </a:lnTo>
                <a:lnTo>
                  <a:pt x="534" y="271"/>
                </a:lnTo>
                <a:lnTo>
                  <a:pt x="534" y="270"/>
                </a:lnTo>
                <a:lnTo>
                  <a:pt x="535" y="267"/>
                </a:lnTo>
                <a:lnTo>
                  <a:pt x="535" y="266"/>
                </a:lnTo>
                <a:lnTo>
                  <a:pt x="537" y="265"/>
                </a:lnTo>
                <a:lnTo>
                  <a:pt x="538" y="261"/>
                </a:lnTo>
                <a:lnTo>
                  <a:pt x="539" y="257"/>
                </a:lnTo>
                <a:lnTo>
                  <a:pt x="540" y="253"/>
                </a:lnTo>
                <a:lnTo>
                  <a:pt x="541" y="250"/>
                </a:lnTo>
                <a:lnTo>
                  <a:pt x="543" y="248"/>
                </a:lnTo>
                <a:lnTo>
                  <a:pt x="544" y="247"/>
                </a:lnTo>
                <a:lnTo>
                  <a:pt x="545" y="244"/>
                </a:lnTo>
                <a:lnTo>
                  <a:pt x="546" y="241"/>
                </a:lnTo>
                <a:lnTo>
                  <a:pt x="548" y="238"/>
                </a:lnTo>
                <a:lnTo>
                  <a:pt x="549" y="236"/>
                </a:lnTo>
                <a:lnTo>
                  <a:pt x="550" y="233"/>
                </a:lnTo>
                <a:lnTo>
                  <a:pt x="551" y="231"/>
                </a:lnTo>
                <a:lnTo>
                  <a:pt x="552" y="228"/>
                </a:lnTo>
                <a:lnTo>
                  <a:pt x="554" y="226"/>
                </a:lnTo>
                <a:lnTo>
                  <a:pt x="555" y="225"/>
                </a:lnTo>
                <a:lnTo>
                  <a:pt x="556" y="222"/>
                </a:lnTo>
                <a:lnTo>
                  <a:pt x="557" y="220"/>
                </a:lnTo>
                <a:lnTo>
                  <a:pt x="560" y="216"/>
                </a:lnTo>
                <a:lnTo>
                  <a:pt x="561" y="215"/>
                </a:lnTo>
                <a:lnTo>
                  <a:pt x="562" y="213"/>
                </a:lnTo>
                <a:lnTo>
                  <a:pt x="562" y="211"/>
                </a:lnTo>
                <a:lnTo>
                  <a:pt x="563" y="209"/>
                </a:lnTo>
                <a:lnTo>
                  <a:pt x="566" y="209"/>
                </a:lnTo>
                <a:lnTo>
                  <a:pt x="567" y="206"/>
                </a:lnTo>
                <a:lnTo>
                  <a:pt x="568" y="204"/>
                </a:lnTo>
                <a:lnTo>
                  <a:pt x="571" y="202"/>
                </a:lnTo>
                <a:lnTo>
                  <a:pt x="573" y="198"/>
                </a:lnTo>
                <a:lnTo>
                  <a:pt x="577" y="194"/>
                </a:lnTo>
                <a:lnTo>
                  <a:pt x="587" y="182"/>
                </a:lnTo>
                <a:lnTo>
                  <a:pt x="592" y="177"/>
                </a:lnTo>
                <a:lnTo>
                  <a:pt x="596" y="174"/>
                </a:lnTo>
                <a:lnTo>
                  <a:pt x="600" y="171"/>
                </a:lnTo>
                <a:lnTo>
                  <a:pt x="602" y="169"/>
                </a:lnTo>
                <a:lnTo>
                  <a:pt x="604" y="167"/>
                </a:lnTo>
                <a:lnTo>
                  <a:pt x="606" y="166"/>
                </a:lnTo>
                <a:lnTo>
                  <a:pt x="608" y="165"/>
                </a:lnTo>
                <a:lnTo>
                  <a:pt x="610" y="164"/>
                </a:lnTo>
                <a:lnTo>
                  <a:pt x="613" y="163"/>
                </a:lnTo>
                <a:lnTo>
                  <a:pt x="614" y="161"/>
                </a:lnTo>
                <a:lnTo>
                  <a:pt x="616" y="160"/>
                </a:lnTo>
                <a:lnTo>
                  <a:pt x="618" y="159"/>
                </a:lnTo>
                <a:lnTo>
                  <a:pt x="620" y="158"/>
                </a:lnTo>
                <a:lnTo>
                  <a:pt x="622" y="156"/>
                </a:lnTo>
                <a:lnTo>
                  <a:pt x="625" y="155"/>
                </a:lnTo>
                <a:lnTo>
                  <a:pt x="627" y="154"/>
                </a:lnTo>
                <a:lnTo>
                  <a:pt x="630" y="153"/>
                </a:lnTo>
                <a:lnTo>
                  <a:pt x="632" y="152"/>
                </a:lnTo>
                <a:lnTo>
                  <a:pt x="636" y="149"/>
                </a:lnTo>
                <a:lnTo>
                  <a:pt x="638" y="149"/>
                </a:lnTo>
                <a:lnTo>
                  <a:pt x="641" y="148"/>
                </a:lnTo>
                <a:lnTo>
                  <a:pt x="642" y="147"/>
                </a:lnTo>
                <a:lnTo>
                  <a:pt x="645" y="145"/>
                </a:lnTo>
                <a:lnTo>
                  <a:pt x="648" y="144"/>
                </a:lnTo>
                <a:lnTo>
                  <a:pt x="653" y="143"/>
                </a:lnTo>
                <a:lnTo>
                  <a:pt x="654" y="142"/>
                </a:lnTo>
                <a:lnTo>
                  <a:pt x="656" y="142"/>
                </a:lnTo>
                <a:lnTo>
                  <a:pt x="658" y="141"/>
                </a:lnTo>
                <a:lnTo>
                  <a:pt x="660" y="141"/>
                </a:lnTo>
                <a:lnTo>
                  <a:pt x="665" y="138"/>
                </a:lnTo>
                <a:lnTo>
                  <a:pt x="667" y="138"/>
                </a:lnTo>
                <a:lnTo>
                  <a:pt x="670" y="137"/>
                </a:lnTo>
                <a:lnTo>
                  <a:pt x="672" y="137"/>
                </a:lnTo>
                <a:lnTo>
                  <a:pt x="674" y="136"/>
                </a:lnTo>
                <a:lnTo>
                  <a:pt x="677" y="136"/>
                </a:lnTo>
                <a:lnTo>
                  <a:pt x="678" y="136"/>
                </a:lnTo>
                <a:lnTo>
                  <a:pt x="682" y="134"/>
                </a:lnTo>
                <a:lnTo>
                  <a:pt x="684" y="134"/>
                </a:lnTo>
                <a:lnTo>
                  <a:pt x="694" y="132"/>
                </a:lnTo>
                <a:lnTo>
                  <a:pt x="697" y="132"/>
                </a:lnTo>
                <a:lnTo>
                  <a:pt x="702" y="131"/>
                </a:lnTo>
                <a:lnTo>
                  <a:pt x="707" y="131"/>
                </a:lnTo>
                <a:lnTo>
                  <a:pt x="712" y="130"/>
                </a:lnTo>
                <a:lnTo>
                  <a:pt x="719" y="130"/>
                </a:lnTo>
                <a:lnTo>
                  <a:pt x="722" y="128"/>
                </a:lnTo>
                <a:lnTo>
                  <a:pt x="725" y="128"/>
                </a:lnTo>
                <a:lnTo>
                  <a:pt x="728" y="128"/>
                </a:lnTo>
                <a:lnTo>
                  <a:pt x="729" y="128"/>
                </a:lnTo>
                <a:close/>
                <a:moveTo>
                  <a:pt x="3013" y="127"/>
                </a:moveTo>
                <a:lnTo>
                  <a:pt x="3013" y="309"/>
                </a:lnTo>
                <a:lnTo>
                  <a:pt x="3034" y="309"/>
                </a:lnTo>
                <a:lnTo>
                  <a:pt x="3041" y="309"/>
                </a:lnTo>
                <a:lnTo>
                  <a:pt x="3046" y="308"/>
                </a:lnTo>
                <a:lnTo>
                  <a:pt x="3051" y="308"/>
                </a:lnTo>
                <a:lnTo>
                  <a:pt x="3054" y="308"/>
                </a:lnTo>
                <a:lnTo>
                  <a:pt x="3057" y="307"/>
                </a:lnTo>
                <a:lnTo>
                  <a:pt x="3058" y="307"/>
                </a:lnTo>
                <a:lnTo>
                  <a:pt x="3060" y="305"/>
                </a:lnTo>
                <a:lnTo>
                  <a:pt x="3062" y="305"/>
                </a:lnTo>
                <a:lnTo>
                  <a:pt x="3064" y="304"/>
                </a:lnTo>
                <a:lnTo>
                  <a:pt x="3068" y="303"/>
                </a:lnTo>
                <a:lnTo>
                  <a:pt x="3071" y="300"/>
                </a:lnTo>
                <a:lnTo>
                  <a:pt x="3074" y="299"/>
                </a:lnTo>
                <a:lnTo>
                  <a:pt x="3075" y="297"/>
                </a:lnTo>
                <a:lnTo>
                  <a:pt x="3077" y="296"/>
                </a:lnTo>
                <a:lnTo>
                  <a:pt x="3080" y="294"/>
                </a:lnTo>
                <a:lnTo>
                  <a:pt x="3082" y="292"/>
                </a:lnTo>
                <a:lnTo>
                  <a:pt x="3085" y="288"/>
                </a:lnTo>
                <a:lnTo>
                  <a:pt x="3086" y="287"/>
                </a:lnTo>
                <a:lnTo>
                  <a:pt x="3087" y="285"/>
                </a:lnTo>
                <a:lnTo>
                  <a:pt x="3088" y="282"/>
                </a:lnTo>
                <a:lnTo>
                  <a:pt x="3091" y="277"/>
                </a:lnTo>
                <a:lnTo>
                  <a:pt x="3092" y="274"/>
                </a:lnTo>
                <a:lnTo>
                  <a:pt x="3094" y="266"/>
                </a:lnTo>
                <a:lnTo>
                  <a:pt x="3094" y="261"/>
                </a:lnTo>
                <a:lnTo>
                  <a:pt x="3094" y="258"/>
                </a:lnTo>
                <a:lnTo>
                  <a:pt x="3095" y="239"/>
                </a:lnTo>
                <a:lnTo>
                  <a:pt x="3095" y="210"/>
                </a:lnTo>
                <a:lnTo>
                  <a:pt x="3095" y="177"/>
                </a:lnTo>
                <a:lnTo>
                  <a:pt x="3094" y="172"/>
                </a:lnTo>
                <a:lnTo>
                  <a:pt x="3093" y="166"/>
                </a:lnTo>
                <a:lnTo>
                  <a:pt x="3093" y="165"/>
                </a:lnTo>
                <a:lnTo>
                  <a:pt x="3092" y="164"/>
                </a:lnTo>
                <a:lnTo>
                  <a:pt x="3092" y="161"/>
                </a:lnTo>
                <a:lnTo>
                  <a:pt x="3091" y="160"/>
                </a:lnTo>
                <a:lnTo>
                  <a:pt x="3089" y="156"/>
                </a:lnTo>
                <a:lnTo>
                  <a:pt x="3087" y="152"/>
                </a:lnTo>
                <a:lnTo>
                  <a:pt x="3086" y="150"/>
                </a:lnTo>
                <a:lnTo>
                  <a:pt x="3085" y="148"/>
                </a:lnTo>
                <a:lnTo>
                  <a:pt x="3082" y="147"/>
                </a:lnTo>
                <a:lnTo>
                  <a:pt x="3079" y="142"/>
                </a:lnTo>
                <a:lnTo>
                  <a:pt x="3076" y="141"/>
                </a:lnTo>
                <a:lnTo>
                  <a:pt x="3075" y="138"/>
                </a:lnTo>
                <a:lnTo>
                  <a:pt x="3073" y="137"/>
                </a:lnTo>
                <a:lnTo>
                  <a:pt x="3071" y="136"/>
                </a:lnTo>
                <a:lnTo>
                  <a:pt x="3068" y="134"/>
                </a:lnTo>
                <a:lnTo>
                  <a:pt x="3064" y="133"/>
                </a:lnTo>
                <a:lnTo>
                  <a:pt x="3062" y="132"/>
                </a:lnTo>
                <a:lnTo>
                  <a:pt x="3047" y="127"/>
                </a:lnTo>
                <a:lnTo>
                  <a:pt x="3013" y="127"/>
                </a:lnTo>
                <a:close/>
                <a:moveTo>
                  <a:pt x="205" y="127"/>
                </a:moveTo>
                <a:lnTo>
                  <a:pt x="205" y="355"/>
                </a:lnTo>
                <a:lnTo>
                  <a:pt x="225" y="355"/>
                </a:lnTo>
                <a:lnTo>
                  <a:pt x="233" y="354"/>
                </a:lnTo>
                <a:lnTo>
                  <a:pt x="241" y="353"/>
                </a:lnTo>
                <a:lnTo>
                  <a:pt x="247" y="352"/>
                </a:lnTo>
                <a:lnTo>
                  <a:pt x="249" y="350"/>
                </a:lnTo>
                <a:lnTo>
                  <a:pt x="250" y="349"/>
                </a:lnTo>
                <a:lnTo>
                  <a:pt x="253" y="348"/>
                </a:lnTo>
                <a:lnTo>
                  <a:pt x="256" y="347"/>
                </a:lnTo>
                <a:lnTo>
                  <a:pt x="257" y="346"/>
                </a:lnTo>
                <a:lnTo>
                  <a:pt x="259" y="344"/>
                </a:lnTo>
                <a:lnTo>
                  <a:pt x="261" y="342"/>
                </a:lnTo>
                <a:lnTo>
                  <a:pt x="265" y="338"/>
                </a:lnTo>
                <a:lnTo>
                  <a:pt x="268" y="336"/>
                </a:lnTo>
                <a:lnTo>
                  <a:pt x="271" y="333"/>
                </a:lnTo>
                <a:lnTo>
                  <a:pt x="272" y="331"/>
                </a:lnTo>
                <a:lnTo>
                  <a:pt x="273" y="329"/>
                </a:lnTo>
                <a:lnTo>
                  <a:pt x="273" y="326"/>
                </a:lnTo>
                <a:lnTo>
                  <a:pt x="274" y="325"/>
                </a:lnTo>
                <a:lnTo>
                  <a:pt x="276" y="322"/>
                </a:lnTo>
                <a:lnTo>
                  <a:pt x="277" y="320"/>
                </a:lnTo>
                <a:lnTo>
                  <a:pt x="279" y="316"/>
                </a:lnTo>
                <a:lnTo>
                  <a:pt x="280" y="313"/>
                </a:lnTo>
                <a:lnTo>
                  <a:pt x="283" y="307"/>
                </a:lnTo>
                <a:lnTo>
                  <a:pt x="283" y="304"/>
                </a:lnTo>
                <a:lnTo>
                  <a:pt x="284" y="302"/>
                </a:lnTo>
                <a:lnTo>
                  <a:pt x="285" y="297"/>
                </a:lnTo>
                <a:lnTo>
                  <a:pt x="286" y="285"/>
                </a:lnTo>
                <a:lnTo>
                  <a:pt x="286" y="276"/>
                </a:lnTo>
                <a:lnTo>
                  <a:pt x="288" y="274"/>
                </a:lnTo>
                <a:lnTo>
                  <a:pt x="288" y="270"/>
                </a:lnTo>
                <a:lnTo>
                  <a:pt x="288" y="263"/>
                </a:lnTo>
                <a:lnTo>
                  <a:pt x="288" y="237"/>
                </a:lnTo>
                <a:lnTo>
                  <a:pt x="288" y="203"/>
                </a:lnTo>
                <a:lnTo>
                  <a:pt x="286" y="197"/>
                </a:lnTo>
                <a:lnTo>
                  <a:pt x="286" y="188"/>
                </a:lnTo>
                <a:lnTo>
                  <a:pt x="286" y="183"/>
                </a:lnTo>
                <a:lnTo>
                  <a:pt x="285" y="180"/>
                </a:lnTo>
                <a:lnTo>
                  <a:pt x="285" y="177"/>
                </a:lnTo>
                <a:lnTo>
                  <a:pt x="284" y="175"/>
                </a:lnTo>
                <a:lnTo>
                  <a:pt x="284" y="172"/>
                </a:lnTo>
                <a:lnTo>
                  <a:pt x="283" y="167"/>
                </a:lnTo>
                <a:lnTo>
                  <a:pt x="282" y="166"/>
                </a:lnTo>
                <a:lnTo>
                  <a:pt x="282" y="165"/>
                </a:lnTo>
                <a:lnTo>
                  <a:pt x="280" y="163"/>
                </a:lnTo>
                <a:lnTo>
                  <a:pt x="279" y="160"/>
                </a:lnTo>
                <a:lnTo>
                  <a:pt x="279" y="159"/>
                </a:lnTo>
                <a:lnTo>
                  <a:pt x="278" y="156"/>
                </a:lnTo>
                <a:lnTo>
                  <a:pt x="277" y="154"/>
                </a:lnTo>
                <a:lnTo>
                  <a:pt x="274" y="150"/>
                </a:lnTo>
                <a:lnTo>
                  <a:pt x="273" y="149"/>
                </a:lnTo>
                <a:lnTo>
                  <a:pt x="272" y="148"/>
                </a:lnTo>
                <a:lnTo>
                  <a:pt x="270" y="145"/>
                </a:lnTo>
                <a:lnTo>
                  <a:pt x="267" y="142"/>
                </a:lnTo>
                <a:lnTo>
                  <a:pt x="265" y="141"/>
                </a:lnTo>
                <a:lnTo>
                  <a:pt x="263" y="138"/>
                </a:lnTo>
                <a:lnTo>
                  <a:pt x="261" y="137"/>
                </a:lnTo>
                <a:lnTo>
                  <a:pt x="259" y="136"/>
                </a:lnTo>
                <a:lnTo>
                  <a:pt x="256" y="134"/>
                </a:lnTo>
                <a:lnTo>
                  <a:pt x="254" y="133"/>
                </a:lnTo>
                <a:lnTo>
                  <a:pt x="251" y="132"/>
                </a:lnTo>
                <a:lnTo>
                  <a:pt x="244" y="130"/>
                </a:lnTo>
                <a:lnTo>
                  <a:pt x="241" y="128"/>
                </a:lnTo>
                <a:lnTo>
                  <a:pt x="236" y="128"/>
                </a:lnTo>
                <a:lnTo>
                  <a:pt x="226" y="127"/>
                </a:lnTo>
                <a:lnTo>
                  <a:pt x="205" y="127"/>
                </a:lnTo>
                <a:close/>
                <a:moveTo>
                  <a:pt x="5445" y="126"/>
                </a:moveTo>
                <a:lnTo>
                  <a:pt x="5444" y="322"/>
                </a:lnTo>
                <a:lnTo>
                  <a:pt x="5434" y="322"/>
                </a:lnTo>
                <a:lnTo>
                  <a:pt x="5426" y="324"/>
                </a:lnTo>
                <a:lnTo>
                  <a:pt x="5419" y="325"/>
                </a:lnTo>
                <a:lnTo>
                  <a:pt x="5411" y="326"/>
                </a:lnTo>
                <a:lnTo>
                  <a:pt x="5408" y="326"/>
                </a:lnTo>
                <a:lnTo>
                  <a:pt x="5407" y="327"/>
                </a:lnTo>
                <a:lnTo>
                  <a:pt x="5404" y="327"/>
                </a:lnTo>
                <a:lnTo>
                  <a:pt x="5402" y="329"/>
                </a:lnTo>
                <a:lnTo>
                  <a:pt x="5399" y="329"/>
                </a:lnTo>
                <a:lnTo>
                  <a:pt x="5397" y="330"/>
                </a:lnTo>
                <a:lnTo>
                  <a:pt x="5394" y="330"/>
                </a:lnTo>
                <a:lnTo>
                  <a:pt x="5393" y="331"/>
                </a:lnTo>
                <a:lnTo>
                  <a:pt x="5392" y="331"/>
                </a:lnTo>
                <a:lnTo>
                  <a:pt x="5390" y="332"/>
                </a:lnTo>
                <a:lnTo>
                  <a:pt x="5388" y="332"/>
                </a:lnTo>
                <a:lnTo>
                  <a:pt x="5385" y="333"/>
                </a:lnTo>
                <a:lnTo>
                  <a:pt x="5380" y="336"/>
                </a:lnTo>
                <a:lnTo>
                  <a:pt x="5378" y="337"/>
                </a:lnTo>
                <a:lnTo>
                  <a:pt x="5374" y="338"/>
                </a:lnTo>
                <a:lnTo>
                  <a:pt x="5371" y="339"/>
                </a:lnTo>
                <a:lnTo>
                  <a:pt x="5369" y="341"/>
                </a:lnTo>
                <a:lnTo>
                  <a:pt x="5365" y="342"/>
                </a:lnTo>
                <a:lnTo>
                  <a:pt x="5363" y="343"/>
                </a:lnTo>
                <a:lnTo>
                  <a:pt x="5361" y="344"/>
                </a:lnTo>
                <a:lnTo>
                  <a:pt x="5358" y="346"/>
                </a:lnTo>
                <a:lnTo>
                  <a:pt x="5355" y="348"/>
                </a:lnTo>
                <a:lnTo>
                  <a:pt x="5351" y="349"/>
                </a:lnTo>
                <a:lnTo>
                  <a:pt x="5350" y="350"/>
                </a:lnTo>
                <a:lnTo>
                  <a:pt x="5347" y="353"/>
                </a:lnTo>
                <a:lnTo>
                  <a:pt x="5345" y="354"/>
                </a:lnTo>
                <a:lnTo>
                  <a:pt x="5344" y="355"/>
                </a:lnTo>
                <a:lnTo>
                  <a:pt x="5342" y="357"/>
                </a:lnTo>
                <a:lnTo>
                  <a:pt x="5340" y="358"/>
                </a:lnTo>
                <a:lnTo>
                  <a:pt x="5339" y="358"/>
                </a:lnTo>
                <a:lnTo>
                  <a:pt x="5338" y="360"/>
                </a:lnTo>
                <a:lnTo>
                  <a:pt x="5334" y="363"/>
                </a:lnTo>
                <a:lnTo>
                  <a:pt x="5329" y="368"/>
                </a:lnTo>
                <a:lnTo>
                  <a:pt x="5329" y="793"/>
                </a:lnTo>
                <a:lnTo>
                  <a:pt x="5324" y="793"/>
                </a:lnTo>
                <a:lnTo>
                  <a:pt x="5320" y="793"/>
                </a:lnTo>
                <a:lnTo>
                  <a:pt x="5310" y="793"/>
                </a:lnTo>
                <a:lnTo>
                  <a:pt x="5271" y="793"/>
                </a:lnTo>
                <a:lnTo>
                  <a:pt x="5136" y="793"/>
                </a:lnTo>
                <a:lnTo>
                  <a:pt x="5136" y="790"/>
                </a:lnTo>
                <a:lnTo>
                  <a:pt x="5136" y="785"/>
                </a:lnTo>
                <a:lnTo>
                  <a:pt x="5136" y="775"/>
                </a:lnTo>
                <a:lnTo>
                  <a:pt x="5136" y="735"/>
                </a:lnTo>
                <a:lnTo>
                  <a:pt x="5136" y="599"/>
                </a:lnTo>
                <a:lnTo>
                  <a:pt x="5136" y="142"/>
                </a:lnTo>
                <a:lnTo>
                  <a:pt x="5309" y="142"/>
                </a:lnTo>
                <a:lnTo>
                  <a:pt x="5310" y="147"/>
                </a:lnTo>
                <a:lnTo>
                  <a:pt x="5311" y="150"/>
                </a:lnTo>
                <a:lnTo>
                  <a:pt x="5311" y="153"/>
                </a:lnTo>
                <a:lnTo>
                  <a:pt x="5311" y="155"/>
                </a:lnTo>
                <a:lnTo>
                  <a:pt x="5312" y="159"/>
                </a:lnTo>
                <a:lnTo>
                  <a:pt x="5312" y="161"/>
                </a:lnTo>
                <a:lnTo>
                  <a:pt x="5313" y="164"/>
                </a:lnTo>
                <a:lnTo>
                  <a:pt x="5316" y="174"/>
                </a:lnTo>
                <a:lnTo>
                  <a:pt x="5322" y="203"/>
                </a:lnTo>
                <a:lnTo>
                  <a:pt x="5324" y="202"/>
                </a:lnTo>
                <a:lnTo>
                  <a:pt x="5327" y="199"/>
                </a:lnTo>
                <a:lnTo>
                  <a:pt x="5329" y="195"/>
                </a:lnTo>
                <a:lnTo>
                  <a:pt x="5340" y="186"/>
                </a:lnTo>
                <a:lnTo>
                  <a:pt x="5345" y="180"/>
                </a:lnTo>
                <a:lnTo>
                  <a:pt x="5349" y="176"/>
                </a:lnTo>
                <a:lnTo>
                  <a:pt x="5352" y="174"/>
                </a:lnTo>
                <a:lnTo>
                  <a:pt x="5356" y="171"/>
                </a:lnTo>
                <a:lnTo>
                  <a:pt x="5358" y="169"/>
                </a:lnTo>
                <a:lnTo>
                  <a:pt x="5361" y="166"/>
                </a:lnTo>
                <a:lnTo>
                  <a:pt x="5363" y="165"/>
                </a:lnTo>
                <a:lnTo>
                  <a:pt x="5365" y="164"/>
                </a:lnTo>
                <a:lnTo>
                  <a:pt x="5367" y="163"/>
                </a:lnTo>
                <a:lnTo>
                  <a:pt x="5369" y="160"/>
                </a:lnTo>
                <a:lnTo>
                  <a:pt x="5371" y="159"/>
                </a:lnTo>
                <a:lnTo>
                  <a:pt x="5373" y="158"/>
                </a:lnTo>
                <a:lnTo>
                  <a:pt x="5375" y="156"/>
                </a:lnTo>
                <a:lnTo>
                  <a:pt x="5376" y="155"/>
                </a:lnTo>
                <a:lnTo>
                  <a:pt x="5378" y="154"/>
                </a:lnTo>
                <a:lnTo>
                  <a:pt x="5380" y="154"/>
                </a:lnTo>
                <a:lnTo>
                  <a:pt x="5384" y="152"/>
                </a:lnTo>
                <a:lnTo>
                  <a:pt x="5386" y="150"/>
                </a:lnTo>
                <a:lnTo>
                  <a:pt x="5388" y="149"/>
                </a:lnTo>
                <a:lnTo>
                  <a:pt x="5391" y="148"/>
                </a:lnTo>
                <a:lnTo>
                  <a:pt x="5392" y="147"/>
                </a:lnTo>
                <a:lnTo>
                  <a:pt x="5394" y="145"/>
                </a:lnTo>
                <a:lnTo>
                  <a:pt x="5397" y="144"/>
                </a:lnTo>
                <a:lnTo>
                  <a:pt x="5399" y="143"/>
                </a:lnTo>
                <a:lnTo>
                  <a:pt x="5404" y="141"/>
                </a:lnTo>
                <a:lnTo>
                  <a:pt x="5407" y="139"/>
                </a:lnTo>
                <a:lnTo>
                  <a:pt x="5409" y="138"/>
                </a:lnTo>
                <a:lnTo>
                  <a:pt x="5410" y="138"/>
                </a:lnTo>
                <a:lnTo>
                  <a:pt x="5413" y="137"/>
                </a:lnTo>
                <a:lnTo>
                  <a:pt x="5415" y="136"/>
                </a:lnTo>
                <a:lnTo>
                  <a:pt x="5417" y="136"/>
                </a:lnTo>
                <a:lnTo>
                  <a:pt x="5422" y="133"/>
                </a:lnTo>
                <a:lnTo>
                  <a:pt x="5428" y="131"/>
                </a:lnTo>
                <a:lnTo>
                  <a:pt x="5437" y="128"/>
                </a:lnTo>
                <a:lnTo>
                  <a:pt x="5445" y="126"/>
                </a:lnTo>
                <a:close/>
                <a:moveTo>
                  <a:pt x="4119" y="126"/>
                </a:moveTo>
                <a:lnTo>
                  <a:pt x="4119" y="225"/>
                </a:lnTo>
                <a:lnTo>
                  <a:pt x="4118" y="322"/>
                </a:lnTo>
                <a:lnTo>
                  <a:pt x="4111" y="322"/>
                </a:lnTo>
                <a:lnTo>
                  <a:pt x="4104" y="324"/>
                </a:lnTo>
                <a:lnTo>
                  <a:pt x="4098" y="324"/>
                </a:lnTo>
                <a:lnTo>
                  <a:pt x="4091" y="326"/>
                </a:lnTo>
                <a:lnTo>
                  <a:pt x="4085" y="326"/>
                </a:lnTo>
                <a:lnTo>
                  <a:pt x="4083" y="326"/>
                </a:lnTo>
                <a:lnTo>
                  <a:pt x="4081" y="327"/>
                </a:lnTo>
                <a:lnTo>
                  <a:pt x="4078" y="327"/>
                </a:lnTo>
                <a:lnTo>
                  <a:pt x="4076" y="329"/>
                </a:lnTo>
                <a:lnTo>
                  <a:pt x="4073" y="329"/>
                </a:lnTo>
                <a:lnTo>
                  <a:pt x="4072" y="330"/>
                </a:lnTo>
                <a:lnTo>
                  <a:pt x="4066" y="331"/>
                </a:lnTo>
                <a:lnTo>
                  <a:pt x="4064" y="332"/>
                </a:lnTo>
                <a:lnTo>
                  <a:pt x="4062" y="332"/>
                </a:lnTo>
                <a:lnTo>
                  <a:pt x="4060" y="333"/>
                </a:lnTo>
                <a:lnTo>
                  <a:pt x="4056" y="335"/>
                </a:lnTo>
                <a:lnTo>
                  <a:pt x="4053" y="336"/>
                </a:lnTo>
                <a:lnTo>
                  <a:pt x="4050" y="337"/>
                </a:lnTo>
                <a:lnTo>
                  <a:pt x="4047" y="338"/>
                </a:lnTo>
                <a:lnTo>
                  <a:pt x="4043" y="341"/>
                </a:lnTo>
                <a:lnTo>
                  <a:pt x="4042" y="341"/>
                </a:lnTo>
                <a:lnTo>
                  <a:pt x="4036" y="343"/>
                </a:lnTo>
                <a:lnTo>
                  <a:pt x="4035" y="344"/>
                </a:lnTo>
                <a:lnTo>
                  <a:pt x="4032" y="346"/>
                </a:lnTo>
                <a:lnTo>
                  <a:pt x="4030" y="347"/>
                </a:lnTo>
                <a:lnTo>
                  <a:pt x="4027" y="349"/>
                </a:lnTo>
                <a:lnTo>
                  <a:pt x="4024" y="350"/>
                </a:lnTo>
                <a:lnTo>
                  <a:pt x="4023" y="352"/>
                </a:lnTo>
                <a:lnTo>
                  <a:pt x="4020" y="353"/>
                </a:lnTo>
                <a:lnTo>
                  <a:pt x="4019" y="354"/>
                </a:lnTo>
                <a:lnTo>
                  <a:pt x="4017" y="355"/>
                </a:lnTo>
                <a:lnTo>
                  <a:pt x="4015" y="357"/>
                </a:lnTo>
                <a:lnTo>
                  <a:pt x="4014" y="359"/>
                </a:lnTo>
                <a:lnTo>
                  <a:pt x="4010" y="361"/>
                </a:lnTo>
                <a:lnTo>
                  <a:pt x="4007" y="364"/>
                </a:lnTo>
                <a:lnTo>
                  <a:pt x="4003" y="368"/>
                </a:lnTo>
                <a:lnTo>
                  <a:pt x="4003" y="793"/>
                </a:lnTo>
                <a:lnTo>
                  <a:pt x="3811" y="793"/>
                </a:lnTo>
                <a:lnTo>
                  <a:pt x="3811" y="142"/>
                </a:lnTo>
                <a:lnTo>
                  <a:pt x="3984" y="142"/>
                </a:lnTo>
                <a:lnTo>
                  <a:pt x="3997" y="203"/>
                </a:lnTo>
                <a:lnTo>
                  <a:pt x="4001" y="198"/>
                </a:lnTo>
                <a:lnTo>
                  <a:pt x="4002" y="197"/>
                </a:lnTo>
                <a:lnTo>
                  <a:pt x="4008" y="192"/>
                </a:lnTo>
                <a:lnTo>
                  <a:pt x="4015" y="185"/>
                </a:lnTo>
                <a:lnTo>
                  <a:pt x="4019" y="181"/>
                </a:lnTo>
                <a:lnTo>
                  <a:pt x="4024" y="177"/>
                </a:lnTo>
                <a:lnTo>
                  <a:pt x="4026" y="175"/>
                </a:lnTo>
                <a:lnTo>
                  <a:pt x="4029" y="171"/>
                </a:lnTo>
                <a:lnTo>
                  <a:pt x="4032" y="169"/>
                </a:lnTo>
                <a:lnTo>
                  <a:pt x="4035" y="167"/>
                </a:lnTo>
                <a:lnTo>
                  <a:pt x="4037" y="165"/>
                </a:lnTo>
                <a:lnTo>
                  <a:pt x="4039" y="164"/>
                </a:lnTo>
                <a:lnTo>
                  <a:pt x="4042" y="163"/>
                </a:lnTo>
                <a:lnTo>
                  <a:pt x="4043" y="161"/>
                </a:lnTo>
                <a:lnTo>
                  <a:pt x="4044" y="160"/>
                </a:lnTo>
                <a:lnTo>
                  <a:pt x="4047" y="159"/>
                </a:lnTo>
                <a:lnTo>
                  <a:pt x="4048" y="158"/>
                </a:lnTo>
                <a:lnTo>
                  <a:pt x="4050" y="156"/>
                </a:lnTo>
                <a:lnTo>
                  <a:pt x="4052" y="155"/>
                </a:lnTo>
                <a:lnTo>
                  <a:pt x="4054" y="154"/>
                </a:lnTo>
                <a:lnTo>
                  <a:pt x="4056" y="153"/>
                </a:lnTo>
                <a:lnTo>
                  <a:pt x="4059" y="152"/>
                </a:lnTo>
                <a:lnTo>
                  <a:pt x="4062" y="149"/>
                </a:lnTo>
                <a:lnTo>
                  <a:pt x="4065" y="148"/>
                </a:lnTo>
                <a:lnTo>
                  <a:pt x="4067" y="147"/>
                </a:lnTo>
                <a:lnTo>
                  <a:pt x="4071" y="145"/>
                </a:lnTo>
                <a:lnTo>
                  <a:pt x="4076" y="142"/>
                </a:lnTo>
                <a:lnTo>
                  <a:pt x="4078" y="141"/>
                </a:lnTo>
                <a:lnTo>
                  <a:pt x="4082" y="139"/>
                </a:lnTo>
                <a:lnTo>
                  <a:pt x="4084" y="138"/>
                </a:lnTo>
                <a:lnTo>
                  <a:pt x="4087" y="137"/>
                </a:lnTo>
                <a:lnTo>
                  <a:pt x="4088" y="137"/>
                </a:lnTo>
                <a:lnTo>
                  <a:pt x="4090" y="136"/>
                </a:lnTo>
                <a:lnTo>
                  <a:pt x="4094" y="134"/>
                </a:lnTo>
                <a:lnTo>
                  <a:pt x="4099" y="133"/>
                </a:lnTo>
                <a:lnTo>
                  <a:pt x="4119" y="126"/>
                </a:lnTo>
                <a:close/>
                <a:moveTo>
                  <a:pt x="2826" y="0"/>
                </a:moveTo>
                <a:lnTo>
                  <a:pt x="3035" y="0"/>
                </a:lnTo>
                <a:lnTo>
                  <a:pt x="3080" y="0"/>
                </a:lnTo>
                <a:lnTo>
                  <a:pt x="3092" y="0"/>
                </a:lnTo>
                <a:lnTo>
                  <a:pt x="3097" y="0"/>
                </a:lnTo>
                <a:lnTo>
                  <a:pt x="3100" y="0"/>
                </a:lnTo>
                <a:lnTo>
                  <a:pt x="3102" y="1"/>
                </a:lnTo>
                <a:lnTo>
                  <a:pt x="3111" y="1"/>
                </a:lnTo>
                <a:lnTo>
                  <a:pt x="3116" y="1"/>
                </a:lnTo>
                <a:lnTo>
                  <a:pt x="3122" y="3"/>
                </a:lnTo>
                <a:lnTo>
                  <a:pt x="3127" y="3"/>
                </a:lnTo>
                <a:lnTo>
                  <a:pt x="3129" y="4"/>
                </a:lnTo>
                <a:lnTo>
                  <a:pt x="3133" y="4"/>
                </a:lnTo>
                <a:lnTo>
                  <a:pt x="3137" y="4"/>
                </a:lnTo>
                <a:lnTo>
                  <a:pt x="3140" y="5"/>
                </a:lnTo>
                <a:lnTo>
                  <a:pt x="3143" y="5"/>
                </a:lnTo>
                <a:lnTo>
                  <a:pt x="3145" y="6"/>
                </a:lnTo>
                <a:lnTo>
                  <a:pt x="3147" y="6"/>
                </a:lnTo>
                <a:lnTo>
                  <a:pt x="3152" y="8"/>
                </a:lnTo>
                <a:lnTo>
                  <a:pt x="3157" y="9"/>
                </a:lnTo>
                <a:lnTo>
                  <a:pt x="3158" y="10"/>
                </a:lnTo>
                <a:lnTo>
                  <a:pt x="3161" y="10"/>
                </a:lnTo>
                <a:lnTo>
                  <a:pt x="3175" y="16"/>
                </a:lnTo>
                <a:lnTo>
                  <a:pt x="3183" y="19"/>
                </a:lnTo>
                <a:lnTo>
                  <a:pt x="3189" y="22"/>
                </a:lnTo>
                <a:lnTo>
                  <a:pt x="3191" y="23"/>
                </a:lnTo>
                <a:lnTo>
                  <a:pt x="3193" y="25"/>
                </a:lnTo>
                <a:lnTo>
                  <a:pt x="3196" y="26"/>
                </a:lnTo>
                <a:lnTo>
                  <a:pt x="3199" y="27"/>
                </a:lnTo>
                <a:lnTo>
                  <a:pt x="3201" y="28"/>
                </a:lnTo>
                <a:lnTo>
                  <a:pt x="3202" y="30"/>
                </a:lnTo>
                <a:lnTo>
                  <a:pt x="3204" y="31"/>
                </a:lnTo>
                <a:lnTo>
                  <a:pt x="3205" y="32"/>
                </a:lnTo>
                <a:lnTo>
                  <a:pt x="3208" y="33"/>
                </a:lnTo>
                <a:lnTo>
                  <a:pt x="3209" y="34"/>
                </a:lnTo>
                <a:lnTo>
                  <a:pt x="3210" y="36"/>
                </a:lnTo>
                <a:lnTo>
                  <a:pt x="3214" y="38"/>
                </a:lnTo>
                <a:lnTo>
                  <a:pt x="3216" y="42"/>
                </a:lnTo>
                <a:lnTo>
                  <a:pt x="3226" y="49"/>
                </a:lnTo>
                <a:lnTo>
                  <a:pt x="3232" y="55"/>
                </a:lnTo>
                <a:lnTo>
                  <a:pt x="3234" y="59"/>
                </a:lnTo>
                <a:lnTo>
                  <a:pt x="3237" y="61"/>
                </a:lnTo>
                <a:lnTo>
                  <a:pt x="3238" y="64"/>
                </a:lnTo>
                <a:lnTo>
                  <a:pt x="3239" y="65"/>
                </a:lnTo>
                <a:lnTo>
                  <a:pt x="3241" y="67"/>
                </a:lnTo>
                <a:lnTo>
                  <a:pt x="3242" y="69"/>
                </a:lnTo>
                <a:lnTo>
                  <a:pt x="3243" y="71"/>
                </a:lnTo>
                <a:lnTo>
                  <a:pt x="3244" y="73"/>
                </a:lnTo>
                <a:lnTo>
                  <a:pt x="3255" y="94"/>
                </a:lnTo>
                <a:lnTo>
                  <a:pt x="3256" y="98"/>
                </a:lnTo>
                <a:lnTo>
                  <a:pt x="3259" y="106"/>
                </a:lnTo>
                <a:lnTo>
                  <a:pt x="3262" y="115"/>
                </a:lnTo>
                <a:lnTo>
                  <a:pt x="3263" y="125"/>
                </a:lnTo>
                <a:lnTo>
                  <a:pt x="3266" y="134"/>
                </a:lnTo>
                <a:lnTo>
                  <a:pt x="3267" y="145"/>
                </a:lnTo>
                <a:lnTo>
                  <a:pt x="3267" y="155"/>
                </a:lnTo>
                <a:lnTo>
                  <a:pt x="3268" y="180"/>
                </a:lnTo>
                <a:lnTo>
                  <a:pt x="3267" y="213"/>
                </a:lnTo>
                <a:lnTo>
                  <a:pt x="3267" y="219"/>
                </a:lnTo>
                <a:lnTo>
                  <a:pt x="3266" y="224"/>
                </a:lnTo>
                <a:lnTo>
                  <a:pt x="3266" y="227"/>
                </a:lnTo>
                <a:lnTo>
                  <a:pt x="3263" y="237"/>
                </a:lnTo>
                <a:lnTo>
                  <a:pt x="3262" y="243"/>
                </a:lnTo>
                <a:lnTo>
                  <a:pt x="3262" y="246"/>
                </a:lnTo>
                <a:lnTo>
                  <a:pt x="3261" y="248"/>
                </a:lnTo>
                <a:lnTo>
                  <a:pt x="3261" y="250"/>
                </a:lnTo>
                <a:lnTo>
                  <a:pt x="3260" y="253"/>
                </a:lnTo>
                <a:lnTo>
                  <a:pt x="3260" y="254"/>
                </a:lnTo>
                <a:lnTo>
                  <a:pt x="3260" y="257"/>
                </a:lnTo>
                <a:lnTo>
                  <a:pt x="3259" y="258"/>
                </a:lnTo>
                <a:lnTo>
                  <a:pt x="3259" y="260"/>
                </a:lnTo>
                <a:lnTo>
                  <a:pt x="3256" y="266"/>
                </a:lnTo>
                <a:lnTo>
                  <a:pt x="3255" y="270"/>
                </a:lnTo>
                <a:lnTo>
                  <a:pt x="3254" y="272"/>
                </a:lnTo>
                <a:lnTo>
                  <a:pt x="3253" y="275"/>
                </a:lnTo>
                <a:lnTo>
                  <a:pt x="3251" y="277"/>
                </a:lnTo>
                <a:lnTo>
                  <a:pt x="3251" y="280"/>
                </a:lnTo>
                <a:lnTo>
                  <a:pt x="3249" y="282"/>
                </a:lnTo>
                <a:lnTo>
                  <a:pt x="3248" y="285"/>
                </a:lnTo>
                <a:lnTo>
                  <a:pt x="3247" y="287"/>
                </a:lnTo>
                <a:lnTo>
                  <a:pt x="3245" y="289"/>
                </a:lnTo>
                <a:lnTo>
                  <a:pt x="3245" y="292"/>
                </a:lnTo>
                <a:lnTo>
                  <a:pt x="3243" y="294"/>
                </a:lnTo>
                <a:lnTo>
                  <a:pt x="3243" y="297"/>
                </a:lnTo>
                <a:lnTo>
                  <a:pt x="3241" y="299"/>
                </a:lnTo>
                <a:lnTo>
                  <a:pt x="3239" y="300"/>
                </a:lnTo>
                <a:lnTo>
                  <a:pt x="3238" y="303"/>
                </a:lnTo>
                <a:lnTo>
                  <a:pt x="3237" y="304"/>
                </a:lnTo>
                <a:lnTo>
                  <a:pt x="3236" y="305"/>
                </a:lnTo>
                <a:lnTo>
                  <a:pt x="3234" y="308"/>
                </a:lnTo>
                <a:lnTo>
                  <a:pt x="3233" y="309"/>
                </a:lnTo>
                <a:lnTo>
                  <a:pt x="3232" y="311"/>
                </a:lnTo>
                <a:lnTo>
                  <a:pt x="3230" y="313"/>
                </a:lnTo>
                <a:lnTo>
                  <a:pt x="3226" y="318"/>
                </a:lnTo>
                <a:lnTo>
                  <a:pt x="3224" y="320"/>
                </a:lnTo>
                <a:lnTo>
                  <a:pt x="3220" y="325"/>
                </a:lnTo>
                <a:lnTo>
                  <a:pt x="3215" y="329"/>
                </a:lnTo>
                <a:lnTo>
                  <a:pt x="3214" y="330"/>
                </a:lnTo>
                <a:lnTo>
                  <a:pt x="3213" y="331"/>
                </a:lnTo>
                <a:lnTo>
                  <a:pt x="3210" y="333"/>
                </a:lnTo>
                <a:lnTo>
                  <a:pt x="3208" y="333"/>
                </a:lnTo>
                <a:lnTo>
                  <a:pt x="3207" y="335"/>
                </a:lnTo>
                <a:lnTo>
                  <a:pt x="3204" y="336"/>
                </a:lnTo>
                <a:lnTo>
                  <a:pt x="3202" y="338"/>
                </a:lnTo>
                <a:lnTo>
                  <a:pt x="3201" y="339"/>
                </a:lnTo>
                <a:lnTo>
                  <a:pt x="3198" y="341"/>
                </a:lnTo>
                <a:lnTo>
                  <a:pt x="3196" y="341"/>
                </a:lnTo>
                <a:lnTo>
                  <a:pt x="3193" y="342"/>
                </a:lnTo>
                <a:lnTo>
                  <a:pt x="3191" y="343"/>
                </a:lnTo>
                <a:lnTo>
                  <a:pt x="3187" y="346"/>
                </a:lnTo>
                <a:lnTo>
                  <a:pt x="3186" y="346"/>
                </a:lnTo>
                <a:lnTo>
                  <a:pt x="3184" y="347"/>
                </a:lnTo>
                <a:lnTo>
                  <a:pt x="3180" y="348"/>
                </a:lnTo>
                <a:lnTo>
                  <a:pt x="3179" y="349"/>
                </a:lnTo>
                <a:lnTo>
                  <a:pt x="3176" y="349"/>
                </a:lnTo>
                <a:lnTo>
                  <a:pt x="3175" y="350"/>
                </a:lnTo>
                <a:lnTo>
                  <a:pt x="3173" y="350"/>
                </a:lnTo>
                <a:lnTo>
                  <a:pt x="3172" y="352"/>
                </a:lnTo>
                <a:lnTo>
                  <a:pt x="3169" y="352"/>
                </a:lnTo>
                <a:lnTo>
                  <a:pt x="3166" y="353"/>
                </a:lnTo>
                <a:lnTo>
                  <a:pt x="3163" y="353"/>
                </a:lnTo>
                <a:lnTo>
                  <a:pt x="3151" y="355"/>
                </a:lnTo>
                <a:lnTo>
                  <a:pt x="3166" y="357"/>
                </a:lnTo>
                <a:lnTo>
                  <a:pt x="3178" y="360"/>
                </a:lnTo>
                <a:lnTo>
                  <a:pt x="3184" y="361"/>
                </a:lnTo>
                <a:lnTo>
                  <a:pt x="3189" y="364"/>
                </a:lnTo>
                <a:lnTo>
                  <a:pt x="3192" y="365"/>
                </a:lnTo>
                <a:lnTo>
                  <a:pt x="3195" y="366"/>
                </a:lnTo>
                <a:lnTo>
                  <a:pt x="3198" y="368"/>
                </a:lnTo>
                <a:lnTo>
                  <a:pt x="3201" y="369"/>
                </a:lnTo>
                <a:lnTo>
                  <a:pt x="3203" y="370"/>
                </a:lnTo>
                <a:lnTo>
                  <a:pt x="3205" y="371"/>
                </a:lnTo>
                <a:lnTo>
                  <a:pt x="3208" y="372"/>
                </a:lnTo>
                <a:lnTo>
                  <a:pt x="3210" y="374"/>
                </a:lnTo>
                <a:lnTo>
                  <a:pt x="3213" y="375"/>
                </a:lnTo>
                <a:lnTo>
                  <a:pt x="3215" y="377"/>
                </a:lnTo>
                <a:lnTo>
                  <a:pt x="3216" y="379"/>
                </a:lnTo>
                <a:lnTo>
                  <a:pt x="3219" y="380"/>
                </a:lnTo>
                <a:lnTo>
                  <a:pt x="3220" y="381"/>
                </a:lnTo>
                <a:lnTo>
                  <a:pt x="3222" y="383"/>
                </a:lnTo>
                <a:lnTo>
                  <a:pt x="3225" y="385"/>
                </a:lnTo>
                <a:lnTo>
                  <a:pt x="3228" y="387"/>
                </a:lnTo>
                <a:lnTo>
                  <a:pt x="3232" y="392"/>
                </a:lnTo>
                <a:lnTo>
                  <a:pt x="3236" y="394"/>
                </a:lnTo>
                <a:lnTo>
                  <a:pt x="3242" y="399"/>
                </a:lnTo>
                <a:lnTo>
                  <a:pt x="3245" y="404"/>
                </a:lnTo>
                <a:lnTo>
                  <a:pt x="3249" y="408"/>
                </a:lnTo>
                <a:lnTo>
                  <a:pt x="3251" y="411"/>
                </a:lnTo>
                <a:lnTo>
                  <a:pt x="3253" y="414"/>
                </a:lnTo>
                <a:lnTo>
                  <a:pt x="3255" y="415"/>
                </a:lnTo>
                <a:lnTo>
                  <a:pt x="3256" y="418"/>
                </a:lnTo>
                <a:lnTo>
                  <a:pt x="3257" y="419"/>
                </a:lnTo>
                <a:lnTo>
                  <a:pt x="3259" y="421"/>
                </a:lnTo>
                <a:lnTo>
                  <a:pt x="3260" y="422"/>
                </a:lnTo>
                <a:lnTo>
                  <a:pt x="3260" y="425"/>
                </a:lnTo>
                <a:lnTo>
                  <a:pt x="3261" y="427"/>
                </a:lnTo>
                <a:lnTo>
                  <a:pt x="3262" y="430"/>
                </a:lnTo>
                <a:lnTo>
                  <a:pt x="3265" y="433"/>
                </a:lnTo>
                <a:lnTo>
                  <a:pt x="3266" y="436"/>
                </a:lnTo>
                <a:lnTo>
                  <a:pt x="3267" y="438"/>
                </a:lnTo>
                <a:lnTo>
                  <a:pt x="3268" y="441"/>
                </a:lnTo>
                <a:lnTo>
                  <a:pt x="3271" y="444"/>
                </a:lnTo>
                <a:lnTo>
                  <a:pt x="3272" y="448"/>
                </a:lnTo>
                <a:lnTo>
                  <a:pt x="3273" y="451"/>
                </a:lnTo>
                <a:lnTo>
                  <a:pt x="3274" y="452"/>
                </a:lnTo>
                <a:lnTo>
                  <a:pt x="3274" y="454"/>
                </a:lnTo>
                <a:lnTo>
                  <a:pt x="3276" y="458"/>
                </a:lnTo>
                <a:lnTo>
                  <a:pt x="3278" y="463"/>
                </a:lnTo>
                <a:lnTo>
                  <a:pt x="3280" y="471"/>
                </a:lnTo>
                <a:lnTo>
                  <a:pt x="3282" y="473"/>
                </a:lnTo>
                <a:lnTo>
                  <a:pt x="3282" y="475"/>
                </a:lnTo>
                <a:lnTo>
                  <a:pt x="3283" y="479"/>
                </a:lnTo>
                <a:lnTo>
                  <a:pt x="3284" y="481"/>
                </a:lnTo>
                <a:lnTo>
                  <a:pt x="3288" y="497"/>
                </a:lnTo>
                <a:lnTo>
                  <a:pt x="3289" y="508"/>
                </a:lnTo>
                <a:lnTo>
                  <a:pt x="3289" y="513"/>
                </a:lnTo>
                <a:lnTo>
                  <a:pt x="3290" y="519"/>
                </a:lnTo>
                <a:lnTo>
                  <a:pt x="3290" y="526"/>
                </a:lnTo>
                <a:lnTo>
                  <a:pt x="3291" y="532"/>
                </a:lnTo>
                <a:lnTo>
                  <a:pt x="3291" y="538"/>
                </a:lnTo>
                <a:lnTo>
                  <a:pt x="3291" y="560"/>
                </a:lnTo>
                <a:lnTo>
                  <a:pt x="3291" y="587"/>
                </a:lnTo>
                <a:lnTo>
                  <a:pt x="3291" y="593"/>
                </a:lnTo>
                <a:lnTo>
                  <a:pt x="3290" y="601"/>
                </a:lnTo>
                <a:lnTo>
                  <a:pt x="3290" y="608"/>
                </a:lnTo>
                <a:lnTo>
                  <a:pt x="3289" y="624"/>
                </a:lnTo>
                <a:lnTo>
                  <a:pt x="3286" y="634"/>
                </a:lnTo>
                <a:lnTo>
                  <a:pt x="3286" y="636"/>
                </a:lnTo>
                <a:lnTo>
                  <a:pt x="3286" y="640"/>
                </a:lnTo>
                <a:lnTo>
                  <a:pt x="3285" y="642"/>
                </a:lnTo>
                <a:lnTo>
                  <a:pt x="3285" y="645"/>
                </a:lnTo>
                <a:lnTo>
                  <a:pt x="3284" y="647"/>
                </a:lnTo>
                <a:lnTo>
                  <a:pt x="3284" y="648"/>
                </a:lnTo>
                <a:lnTo>
                  <a:pt x="3283" y="651"/>
                </a:lnTo>
                <a:lnTo>
                  <a:pt x="3283" y="653"/>
                </a:lnTo>
                <a:lnTo>
                  <a:pt x="3282" y="656"/>
                </a:lnTo>
                <a:lnTo>
                  <a:pt x="3274" y="676"/>
                </a:lnTo>
                <a:lnTo>
                  <a:pt x="3270" y="685"/>
                </a:lnTo>
                <a:lnTo>
                  <a:pt x="3265" y="695"/>
                </a:lnTo>
                <a:lnTo>
                  <a:pt x="3263" y="698"/>
                </a:lnTo>
                <a:lnTo>
                  <a:pt x="3261" y="702"/>
                </a:lnTo>
                <a:lnTo>
                  <a:pt x="3260" y="704"/>
                </a:lnTo>
                <a:lnTo>
                  <a:pt x="3259" y="707"/>
                </a:lnTo>
                <a:lnTo>
                  <a:pt x="3257" y="708"/>
                </a:lnTo>
                <a:lnTo>
                  <a:pt x="3256" y="710"/>
                </a:lnTo>
                <a:lnTo>
                  <a:pt x="3255" y="712"/>
                </a:lnTo>
                <a:lnTo>
                  <a:pt x="3254" y="713"/>
                </a:lnTo>
                <a:lnTo>
                  <a:pt x="3251" y="715"/>
                </a:lnTo>
                <a:lnTo>
                  <a:pt x="3250" y="718"/>
                </a:lnTo>
                <a:lnTo>
                  <a:pt x="3248" y="721"/>
                </a:lnTo>
                <a:lnTo>
                  <a:pt x="3245" y="723"/>
                </a:lnTo>
                <a:lnTo>
                  <a:pt x="3245" y="725"/>
                </a:lnTo>
                <a:lnTo>
                  <a:pt x="3242" y="729"/>
                </a:lnTo>
                <a:lnTo>
                  <a:pt x="3238" y="732"/>
                </a:lnTo>
                <a:lnTo>
                  <a:pt x="3228" y="743"/>
                </a:lnTo>
                <a:lnTo>
                  <a:pt x="3224" y="747"/>
                </a:lnTo>
                <a:lnTo>
                  <a:pt x="3222" y="748"/>
                </a:lnTo>
                <a:lnTo>
                  <a:pt x="3220" y="750"/>
                </a:lnTo>
                <a:lnTo>
                  <a:pt x="3218" y="751"/>
                </a:lnTo>
                <a:lnTo>
                  <a:pt x="3216" y="753"/>
                </a:lnTo>
                <a:lnTo>
                  <a:pt x="3214" y="754"/>
                </a:lnTo>
                <a:lnTo>
                  <a:pt x="3212" y="757"/>
                </a:lnTo>
                <a:lnTo>
                  <a:pt x="3209" y="758"/>
                </a:lnTo>
                <a:lnTo>
                  <a:pt x="3208" y="759"/>
                </a:lnTo>
                <a:lnTo>
                  <a:pt x="3205" y="761"/>
                </a:lnTo>
                <a:lnTo>
                  <a:pt x="3204" y="762"/>
                </a:lnTo>
                <a:lnTo>
                  <a:pt x="3202" y="762"/>
                </a:lnTo>
                <a:lnTo>
                  <a:pt x="3201" y="763"/>
                </a:lnTo>
                <a:lnTo>
                  <a:pt x="3198" y="765"/>
                </a:lnTo>
                <a:lnTo>
                  <a:pt x="3195" y="765"/>
                </a:lnTo>
                <a:lnTo>
                  <a:pt x="3193" y="767"/>
                </a:lnTo>
                <a:lnTo>
                  <a:pt x="3191" y="768"/>
                </a:lnTo>
                <a:lnTo>
                  <a:pt x="3189" y="769"/>
                </a:lnTo>
                <a:lnTo>
                  <a:pt x="3186" y="770"/>
                </a:lnTo>
                <a:lnTo>
                  <a:pt x="3184" y="772"/>
                </a:lnTo>
                <a:lnTo>
                  <a:pt x="3180" y="774"/>
                </a:lnTo>
                <a:lnTo>
                  <a:pt x="3179" y="774"/>
                </a:lnTo>
                <a:lnTo>
                  <a:pt x="3176" y="775"/>
                </a:lnTo>
                <a:lnTo>
                  <a:pt x="3174" y="776"/>
                </a:lnTo>
                <a:lnTo>
                  <a:pt x="3172" y="778"/>
                </a:lnTo>
                <a:lnTo>
                  <a:pt x="3151" y="785"/>
                </a:lnTo>
                <a:lnTo>
                  <a:pt x="3146" y="785"/>
                </a:lnTo>
                <a:lnTo>
                  <a:pt x="3144" y="786"/>
                </a:lnTo>
                <a:lnTo>
                  <a:pt x="3143" y="786"/>
                </a:lnTo>
                <a:lnTo>
                  <a:pt x="3140" y="787"/>
                </a:lnTo>
                <a:lnTo>
                  <a:pt x="3134" y="789"/>
                </a:lnTo>
                <a:lnTo>
                  <a:pt x="3131" y="789"/>
                </a:lnTo>
                <a:lnTo>
                  <a:pt x="3128" y="790"/>
                </a:lnTo>
                <a:lnTo>
                  <a:pt x="3124" y="790"/>
                </a:lnTo>
                <a:lnTo>
                  <a:pt x="3121" y="791"/>
                </a:lnTo>
                <a:lnTo>
                  <a:pt x="3116" y="791"/>
                </a:lnTo>
                <a:lnTo>
                  <a:pt x="3111" y="792"/>
                </a:lnTo>
                <a:lnTo>
                  <a:pt x="3105" y="792"/>
                </a:lnTo>
                <a:lnTo>
                  <a:pt x="3099" y="793"/>
                </a:lnTo>
                <a:lnTo>
                  <a:pt x="3093" y="793"/>
                </a:lnTo>
                <a:lnTo>
                  <a:pt x="3088" y="793"/>
                </a:lnTo>
                <a:lnTo>
                  <a:pt x="3082" y="793"/>
                </a:lnTo>
                <a:lnTo>
                  <a:pt x="3071" y="793"/>
                </a:lnTo>
                <a:lnTo>
                  <a:pt x="3029" y="793"/>
                </a:lnTo>
                <a:lnTo>
                  <a:pt x="2826" y="793"/>
                </a:lnTo>
                <a:lnTo>
                  <a:pt x="2826" y="0"/>
                </a:lnTo>
                <a:close/>
                <a:moveTo>
                  <a:pt x="2491" y="0"/>
                </a:moveTo>
                <a:lnTo>
                  <a:pt x="2685" y="0"/>
                </a:lnTo>
                <a:lnTo>
                  <a:pt x="2685" y="793"/>
                </a:lnTo>
                <a:lnTo>
                  <a:pt x="2681" y="793"/>
                </a:lnTo>
                <a:lnTo>
                  <a:pt x="2676" y="793"/>
                </a:lnTo>
                <a:lnTo>
                  <a:pt x="2666" y="793"/>
                </a:lnTo>
                <a:lnTo>
                  <a:pt x="2628" y="793"/>
                </a:lnTo>
                <a:lnTo>
                  <a:pt x="2498" y="793"/>
                </a:lnTo>
                <a:lnTo>
                  <a:pt x="2496" y="786"/>
                </a:lnTo>
                <a:lnTo>
                  <a:pt x="2495" y="781"/>
                </a:lnTo>
                <a:lnTo>
                  <a:pt x="2495" y="780"/>
                </a:lnTo>
                <a:lnTo>
                  <a:pt x="2494" y="778"/>
                </a:lnTo>
                <a:lnTo>
                  <a:pt x="2494" y="775"/>
                </a:lnTo>
                <a:lnTo>
                  <a:pt x="2492" y="770"/>
                </a:lnTo>
                <a:lnTo>
                  <a:pt x="2491" y="768"/>
                </a:lnTo>
                <a:lnTo>
                  <a:pt x="2491" y="765"/>
                </a:lnTo>
                <a:lnTo>
                  <a:pt x="2491" y="764"/>
                </a:lnTo>
                <a:lnTo>
                  <a:pt x="2490" y="761"/>
                </a:lnTo>
                <a:lnTo>
                  <a:pt x="2485" y="763"/>
                </a:lnTo>
                <a:lnTo>
                  <a:pt x="2484" y="764"/>
                </a:lnTo>
                <a:lnTo>
                  <a:pt x="2483" y="765"/>
                </a:lnTo>
                <a:lnTo>
                  <a:pt x="2480" y="767"/>
                </a:lnTo>
                <a:lnTo>
                  <a:pt x="2479" y="767"/>
                </a:lnTo>
                <a:lnTo>
                  <a:pt x="2477" y="769"/>
                </a:lnTo>
                <a:lnTo>
                  <a:pt x="2475" y="770"/>
                </a:lnTo>
                <a:lnTo>
                  <a:pt x="2474" y="772"/>
                </a:lnTo>
                <a:lnTo>
                  <a:pt x="2472" y="772"/>
                </a:lnTo>
                <a:lnTo>
                  <a:pt x="2468" y="774"/>
                </a:lnTo>
                <a:lnTo>
                  <a:pt x="2465" y="776"/>
                </a:lnTo>
                <a:lnTo>
                  <a:pt x="2462" y="778"/>
                </a:lnTo>
                <a:lnTo>
                  <a:pt x="2461" y="779"/>
                </a:lnTo>
                <a:lnTo>
                  <a:pt x="2459" y="780"/>
                </a:lnTo>
                <a:lnTo>
                  <a:pt x="2455" y="781"/>
                </a:lnTo>
                <a:lnTo>
                  <a:pt x="2452" y="782"/>
                </a:lnTo>
                <a:lnTo>
                  <a:pt x="2449" y="784"/>
                </a:lnTo>
                <a:lnTo>
                  <a:pt x="2448" y="785"/>
                </a:lnTo>
                <a:lnTo>
                  <a:pt x="2443" y="787"/>
                </a:lnTo>
                <a:lnTo>
                  <a:pt x="2442" y="787"/>
                </a:lnTo>
                <a:lnTo>
                  <a:pt x="2438" y="789"/>
                </a:lnTo>
                <a:lnTo>
                  <a:pt x="2436" y="790"/>
                </a:lnTo>
                <a:lnTo>
                  <a:pt x="2433" y="791"/>
                </a:lnTo>
                <a:lnTo>
                  <a:pt x="2428" y="793"/>
                </a:lnTo>
                <a:lnTo>
                  <a:pt x="2426" y="793"/>
                </a:lnTo>
                <a:lnTo>
                  <a:pt x="2425" y="795"/>
                </a:lnTo>
                <a:lnTo>
                  <a:pt x="2422" y="795"/>
                </a:lnTo>
                <a:lnTo>
                  <a:pt x="2421" y="795"/>
                </a:lnTo>
                <a:lnTo>
                  <a:pt x="2419" y="796"/>
                </a:lnTo>
                <a:lnTo>
                  <a:pt x="2417" y="796"/>
                </a:lnTo>
                <a:lnTo>
                  <a:pt x="2415" y="797"/>
                </a:lnTo>
                <a:lnTo>
                  <a:pt x="2413" y="797"/>
                </a:lnTo>
                <a:lnTo>
                  <a:pt x="2410" y="798"/>
                </a:lnTo>
                <a:lnTo>
                  <a:pt x="2408" y="798"/>
                </a:lnTo>
                <a:lnTo>
                  <a:pt x="2405" y="800"/>
                </a:lnTo>
                <a:lnTo>
                  <a:pt x="2403" y="800"/>
                </a:lnTo>
                <a:lnTo>
                  <a:pt x="2393" y="802"/>
                </a:lnTo>
                <a:lnTo>
                  <a:pt x="2382" y="803"/>
                </a:lnTo>
                <a:lnTo>
                  <a:pt x="2378" y="803"/>
                </a:lnTo>
                <a:lnTo>
                  <a:pt x="2370" y="804"/>
                </a:lnTo>
                <a:lnTo>
                  <a:pt x="2364" y="803"/>
                </a:lnTo>
                <a:lnTo>
                  <a:pt x="2359" y="803"/>
                </a:lnTo>
                <a:lnTo>
                  <a:pt x="2352" y="803"/>
                </a:lnTo>
                <a:lnTo>
                  <a:pt x="2334" y="800"/>
                </a:lnTo>
                <a:lnTo>
                  <a:pt x="2330" y="798"/>
                </a:lnTo>
                <a:lnTo>
                  <a:pt x="2326" y="797"/>
                </a:lnTo>
                <a:lnTo>
                  <a:pt x="2324" y="797"/>
                </a:lnTo>
                <a:lnTo>
                  <a:pt x="2322" y="796"/>
                </a:lnTo>
                <a:lnTo>
                  <a:pt x="2321" y="796"/>
                </a:lnTo>
                <a:lnTo>
                  <a:pt x="2317" y="795"/>
                </a:lnTo>
                <a:lnTo>
                  <a:pt x="2315" y="793"/>
                </a:lnTo>
                <a:lnTo>
                  <a:pt x="2311" y="792"/>
                </a:lnTo>
                <a:lnTo>
                  <a:pt x="2309" y="791"/>
                </a:lnTo>
                <a:lnTo>
                  <a:pt x="2306" y="790"/>
                </a:lnTo>
                <a:lnTo>
                  <a:pt x="2304" y="789"/>
                </a:lnTo>
                <a:lnTo>
                  <a:pt x="2301" y="786"/>
                </a:lnTo>
                <a:lnTo>
                  <a:pt x="2300" y="785"/>
                </a:lnTo>
                <a:lnTo>
                  <a:pt x="2298" y="784"/>
                </a:lnTo>
                <a:lnTo>
                  <a:pt x="2297" y="782"/>
                </a:lnTo>
                <a:lnTo>
                  <a:pt x="2295" y="781"/>
                </a:lnTo>
                <a:lnTo>
                  <a:pt x="2292" y="779"/>
                </a:lnTo>
                <a:lnTo>
                  <a:pt x="2287" y="774"/>
                </a:lnTo>
                <a:lnTo>
                  <a:pt x="2286" y="773"/>
                </a:lnTo>
                <a:lnTo>
                  <a:pt x="2282" y="770"/>
                </a:lnTo>
                <a:lnTo>
                  <a:pt x="2277" y="765"/>
                </a:lnTo>
                <a:lnTo>
                  <a:pt x="2275" y="763"/>
                </a:lnTo>
                <a:lnTo>
                  <a:pt x="2274" y="759"/>
                </a:lnTo>
                <a:lnTo>
                  <a:pt x="2272" y="758"/>
                </a:lnTo>
                <a:lnTo>
                  <a:pt x="2271" y="756"/>
                </a:lnTo>
                <a:lnTo>
                  <a:pt x="2270" y="754"/>
                </a:lnTo>
                <a:lnTo>
                  <a:pt x="2269" y="752"/>
                </a:lnTo>
                <a:lnTo>
                  <a:pt x="2268" y="751"/>
                </a:lnTo>
                <a:lnTo>
                  <a:pt x="2266" y="748"/>
                </a:lnTo>
                <a:lnTo>
                  <a:pt x="2265" y="746"/>
                </a:lnTo>
                <a:lnTo>
                  <a:pt x="2264" y="743"/>
                </a:lnTo>
                <a:lnTo>
                  <a:pt x="2263" y="741"/>
                </a:lnTo>
                <a:lnTo>
                  <a:pt x="2261" y="739"/>
                </a:lnTo>
                <a:lnTo>
                  <a:pt x="2260" y="736"/>
                </a:lnTo>
                <a:lnTo>
                  <a:pt x="2259" y="734"/>
                </a:lnTo>
                <a:lnTo>
                  <a:pt x="2258" y="730"/>
                </a:lnTo>
                <a:lnTo>
                  <a:pt x="2257" y="728"/>
                </a:lnTo>
                <a:lnTo>
                  <a:pt x="2254" y="723"/>
                </a:lnTo>
                <a:lnTo>
                  <a:pt x="2254" y="721"/>
                </a:lnTo>
                <a:lnTo>
                  <a:pt x="2253" y="719"/>
                </a:lnTo>
                <a:lnTo>
                  <a:pt x="2252" y="717"/>
                </a:lnTo>
                <a:lnTo>
                  <a:pt x="2252" y="715"/>
                </a:lnTo>
                <a:lnTo>
                  <a:pt x="2251" y="713"/>
                </a:lnTo>
                <a:lnTo>
                  <a:pt x="2251" y="712"/>
                </a:lnTo>
                <a:lnTo>
                  <a:pt x="2249" y="709"/>
                </a:lnTo>
                <a:lnTo>
                  <a:pt x="2249" y="708"/>
                </a:lnTo>
                <a:lnTo>
                  <a:pt x="2248" y="707"/>
                </a:lnTo>
                <a:lnTo>
                  <a:pt x="2248" y="704"/>
                </a:lnTo>
                <a:lnTo>
                  <a:pt x="2247" y="702"/>
                </a:lnTo>
                <a:lnTo>
                  <a:pt x="2247" y="700"/>
                </a:lnTo>
                <a:lnTo>
                  <a:pt x="2246" y="698"/>
                </a:lnTo>
                <a:lnTo>
                  <a:pt x="2246" y="696"/>
                </a:lnTo>
                <a:lnTo>
                  <a:pt x="2245" y="693"/>
                </a:lnTo>
                <a:lnTo>
                  <a:pt x="2245" y="691"/>
                </a:lnTo>
                <a:lnTo>
                  <a:pt x="2245" y="689"/>
                </a:lnTo>
                <a:lnTo>
                  <a:pt x="2243" y="686"/>
                </a:lnTo>
                <a:lnTo>
                  <a:pt x="2243" y="684"/>
                </a:lnTo>
                <a:lnTo>
                  <a:pt x="2242" y="681"/>
                </a:lnTo>
                <a:lnTo>
                  <a:pt x="2242" y="678"/>
                </a:lnTo>
                <a:lnTo>
                  <a:pt x="2241" y="675"/>
                </a:lnTo>
                <a:lnTo>
                  <a:pt x="2239" y="665"/>
                </a:lnTo>
                <a:lnTo>
                  <a:pt x="2237" y="649"/>
                </a:lnTo>
                <a:lnTo>
                  <a:pt x="2236" y="646"/>
                </a:lnTo>
                <a:lnTo>
                  <a:pt x="2236" y="641"/>
                </a:lnTo>
                <a:lnTo>
                  <a:pt x="2235" y="636"/>
                </a:lnTo>
                <a:lnTo>
                  <a:pt x="2235" y="630"/>
                </a:lnTo>
                <a:lnTo>
                  <a:pt x="2234" y="624"/>
                </a:lnTo>
                <a:lnTo>
                  <a:pt x="2234" y="618"/>
                </a:lnTo>
                <a:lnTo>
                  <a:pt x="2232" y="609"/>
                </a:lnTo>
                <a:lnTo>
                  <a:pt x="2231" y="588"/>
                </a:lnTo>
                <a:lnTo>
                  <a:pt x="2231" y="569"/>
                </a:lnTo>
                <a:lnTo>
                  <a:pt x="2230" y="540"/>
                </a:lnTo>
                <a:lnTo>
                  <a:pt x="2230" y="440"/>
                </a:lnTo>
                <a:lnTo>
                  <a:pt x="2230" y="393"/>
                </a:lnTo>
                <a:lnTo>
                  <a:pt x="2230" y="381"/>
                </a:lnTo>
                <a:lnTo>
                  <a:pt x="2230" y="376"/>
                </a:lnTo>
                <a:lnTo>
                  <a:pt x="2231" y="372"/>
                </a:lnTo>
                <a:lnTo>
                  <a:pt x="2231" y="370"/>
                </a:lnTo>
                <a:lnTo>
                  <a:pt x="2231" y="358"/>
                </a:lnTo>
                <a:lnTo>
                  <a:pt x="2231" y="338"/>
                </a:lnTo>
                <a:lnTo>
                  <a:pt x="2232" y="327"/>
                </a:lnTo>
                <a:lnTo>
                  <a:pt x="2232" y="320"/>
                </a:lnTo>
                <a:lnTo>
                  <a:pt x="2234" y="313"/>
                </a:lnTo>
                <a:lnTo>
                  <a:pt x="2234" y="307"/>
                </a:lnTo>
                <a:lnTo>
                  <a:pt x="2235" y="302"/>
                </a:lnTo>
                <a:lnTo>
                  <a:pt x="2236" y="296"/>
                </a:lnTo>
                <a:lnTo>
                  <a:pt x="2236" y="291"/>
                </a:lnTo>
                <a:lnTo>
                  <a:pt x="2237" y="286"/>
                </a:lnTo>
                <a:lnTo>
                  <a:pt x="2237" y="277"/>
                </a:lnTo>
                <a:lnTo>
                  <a:pt x="2240" y="265"/>
                </a:lnTo>
                <a:lnTo>
                  <a:pt x="2241" y="259"/>
                </a:lnTo>
                <a:lnTo>
                  <a:pt x="2242" y="254"/>
                </a:lnTo>
                <a:lnTo>
                  <a:pt x="2243" y="248"/>
                </a:lnTo>
                <a:lnTo>
                  <a:pt x="2245" y="238"/>
                </a:lnTo>
                <a:lnTo>
                  <a:pt x="2247" y="232"/>
                </a:lnTo>
                <a:lnTo>
                  <a:pt x="2248" y="227"/>
                </a:lnTo>
                <a:lnTo>
                  <a:pt x="2248" y="226"/>
                </a:lnTo>
                <a:lnTo>
                  <a:pt x="2249" y="224"/>
                </a:lnTo>
                <a:lnTo>
                  <a:pt x="2249" y="222"/>
                </a:lnTo>
                <a:lnTo>
                  <a:pt x="2251" y="221"/>
                </a:lnTo>
                <a:lnTo>
                  <a:pt x="2251" y="219"/>
                </a:lnTo>
                <a:lnTo>
                  <a:pt x="2252" y="217"/>
                </a:lnTo>
                <a:lnTo>
                  <a:pt x="2252" y="215"/>
                </a:lnTo>
                <a:lnTo>
                  <a:pt x="2253" y="214"/>
                </a:lnTo>
                <a:lnTo>
                  <a:pt x="2253" y="211"/>
                </a:lnTo>
                <a:lnTo>
                  <a:pt x="2254" y="209"/>
                </a:lnTo>
                <a:lnTo>
                  <a:pt x="2255" y="206"/>
                </a:lnTo>
                <a:lnTo>
                  <a:pt x="2257" y="203"/>
                </a:lnTo>
                <a:lnTo>
                  <a:pt x="2258" y="200"/>
                </a:lnTo>
                <a:lnTo>
                  <a:pt x="2259" y="198"/>
                </a:lnTo>
                <a:lnTo>
                  <a:pt x="2260" y="194"/>
                </a:lnTo>
                <a:lnTo>
                  <a:pt x="2263" y="189"/>
                </a:lnTo>
                <a:lnTo>
                  <a:pt x="2265" y="186"/>
                </a:lnTo>
                <a:lnTo>
                  <a:pt x="2268" y="182"/>
                </a:lnTo>
                <a:lnTo>
                  <a:pt x="2269" y="181"/>
                </a:lnTo>
                <a:lnTo>
                  <a:pt x="2270" y="180"/>
                </a:lnTo>
                <a:lnTo>
                  <a:pt x="2271" y="177"/>
                </a:lnTo>
                <a:lnTo>
                  <a:pt x="2272" y="176"/>
                </a:lnTo>
                <a:lnTo>
                  <a:pt x="2274" y="174"/>
                </a:lnTo>
                <a:lnTo>
                  <a:pt x="2275" y="172"/>
                </a:lnTo>
                <a:lnTo>
                  <a:pt x="2277" y="170"/>
                </a:lnTo>
                <a:lnTo>
                  <a:pt x="2281" y="165"/>
                </a:lnTo>
                <a:lnTo>
                  <a:pt x="2286" y="160"/>
                </a:lnTo>
                <a:lnTo>
                  <a:pt x="2288" y="158"/>
                </a:lnTo>
                <a:lnTo>
                  <a:pt x="2292" y="154"/>
                </a:lnTo>
                <a:lnTo>
                  <a:pt x="2293" y="153"/>
                </a:lnTo>
                <a:lnTo>
                  <a:pt x="2294" y="152"/>
                </a:lnTo>
                <a:lnTo>
                  <a:pt x="2297" y="150"/>
                </a:lnTo>
                <a:lnTo>
                  <a:pt x="2299" y="149"/>
                </a:lnTo>
                <a:lnTo>
                  <a:pt x="2300" y="148"/>
                </a:lnTo>
                <a:lnTo>
                  <a:pt x="2303" y="147"/>
                </a:lnTo>
                <a:lnTo>
                  <a:pt x="2304" y="145"/>
                </a:lnTo>
                <a:lnTo>
                  <a:pt x="2309" y="143"/>
                </a:lnTo>
                <a:lnTo>
                  <a:pt x="2311" y="142"/>
                </a:lnTo>
                <a:lnTo>
                  <a:pt x="2316" y="139"/>
                </a:lnTo>
                <a:lnTo>
                  <a:pt x="2317" y="139"/>
                </a:lnTo>
                <a:lnTo>
                  <a:pt x="2320" y="138"/>
                </a:lnTo>
                <a:lnTo>
                  <a:pt x="2324" y="136"/>
                </a:lnTo>
                <a:lnTo>
                  <a:pt x="2327" y="136"/>
                </a:lnTo>
                <a:lnTo>
                  <a:pt x="2328" y="136"/>
                </a:lnTo>
                <a:lnTo>
                  <a:pt x="2332" y="134"/>
                </a:lnTo>
                <a:lnTo>
                  <a:pt x="2336" y="133"/>
                </a:lnTo>
                <a:lnTo>
                  <a:pt x="2346" y="131"/>
                </a:lnTo>
                <a:lnTo>
                  <a:pt x="2350" y="131"/>
                </a:lnTo>
                <a:lnTo>
                  <a:pt x="2353" y="130"/>
                </a:lnTo>
                <a:lnTo>
                  <a:pt x="2359" y="130"/>
                </a:lnTo>
                <a:lnTo>
                  <a:pt x="2367" y="128"/>
                </a:lnTo>
                <a:lnTo>
                  <a:pt x="2371" y="128"/>
                </a:lnTo>
                <a:lnTo>
                  <a:pt x="2379" y="127"/>
                </a:lnTo>
                <a:lnTo>
                  <a:pt x="2385" y="128"/>
                </a:lnTo>
                <a:lnTo>
                  <a:pt x="2390" y="128"/>
                </a:lnTo>
                <a:lnTo>
                  <a:pt x="2397" y="128"/>
                </a:lnTo>
                <a:lnTo>
                  <a:pt x="2400" y="130"/>
                </a:lnTo>
                <a:lnTo>
                  <a:pt x="2404" y="130"/>
                </a:lnTo>
                <a:lnTo>
                  <a:pt x="2408" y="131"/>
                </a:lnTo>
                <a:lnTo>
                  <a:pt x="2410" y="131"/>
                </a:lnTo>
                <a:lnTo>
                  <a:pt x="2414" y="132"/>
                </a:lnTo>
                <a:lnTo>
                  <a:pt x="2416" y="132"/>
                </a:lnTo>
                <a:lnTo>
                  <a:pt x="2419" y="133"/>
                </a:lnTo>
                <a:lnTo>
                  <a:pt x="2420" y="133"/>
                </a:lnTo>
                <a:lnTo>
                  <a:pt x="2425" y="134"/>
                </a:lnTo>
                <a:lnTo>
                  <a:pt x="2426" y="136"/>
                </a:lnTo>
                <a:lnTo>
                  <a:pt x="2428" y="136"/>
                </a:lnTo>
                <a:lnTo>
                  <a:pt x="2429" y="136"/>
                </a:lnTo>
                <a:lnTo>
                  <a:pt x="2432" y="137"/>
                </a:lnTo>
                <a:lnTo>
                  <a:pt x="2437" y="138"/>
                </a:lnTo>
                <a:lnTo>
                  <a:pt x="2439" y="139"/>
                </a:lnTo>
                <a:lnTo>
                  <a:pt x="2443" y="141"/>
                </a:lnTo>
                <a:lnTo>
                  <a:pt x="2445" y="142"/>
                </a:lnTo>
                <a:lnTo>
                  <a:pt x="2448" y="143"/>
                </a:lnTo>
                <a:lnTo>
                  <a:pt x="2450" y="144"/>
                </a:lnTo>
                <a:lnTo>
                  <a:pt x="2454" y="147"/>
                </a:lnTo>
                <a:lnTo>
                  <a:pt x="2456" y="148"/>
                </a:lnTo>
                <a:lnTo>
                  <a:pt x="2459" y="149"/>
                </a:lnTo>
                <a:lnTo>
                  <a:pt x="2461" y="150"/>
                </a:lnTo>
                <a:lnTo>
                  <a:pt x="2462" y="150"/>
                </a:lnTo>
                <a:lnTo>
                  <a:pt x="2465" y="152"/>
                </a:lnTo>
                <a:lnTo>
                  <a:pt x="2467" y="154"/>
                </a:lnTo>
                <a:lnTo>
                  <a:pt x="2469" y="154"/>
                </a:lnTo>
                <a:lnTo>
                  <a:pt x="2472" y="156"/>
                </a:lnTo>
                <a:lnTo>
                  <a:pt x="2475" y="158"/>
                </a:lnTo>
                <a:lnTo>
                  <a:pt x="2477" y="159"/>
                </a:lnTo>
                <a:lnTo>
                  <a:pt x="2478" y="160"/>
                </a:lnTo>
                <a:lnTo>
                  <a:pt x="2480" y="161"/>
                </a:lnTo>
                <a:lnTo>
                  <a:pt x="2481" y="163"/>
                </a:lnTo>
                <a:lnTo>
                  <a:pt x="2484" y="164"/>
                </a:lnTo>
                <a:lnTo>
                  <a:pt x="2485" y="165"/>
                </a:lnTo>
                <a:lnTo>
                  <a:pt x="2488" y="166"/>
                </a:lnTo>
                <a:lnTo>
                  <a:pt x="2490" y="167"/>
                </a:lnTo>
                <a:lnTo>
                  <a:pt x="2491" y="169"/>
                </a:lnTo>
                <a:lnTo>
                  <a:pt x="2491" y="0"/>
                </a:lnTo>
                <a:close/>
                <a:moveTo>
                  <a:pt x="1017" y="0"/>
                </a:moveTo>
                <a:lnTo>
                  <a:pt x="1211" y="0"/>
                </a:lnTo>
                <a:lnTo>
                  <a:pt x="1211" y="793"/>
                </a:lnTo>
                <a:lnTo>
                  <a:pt x="1206" y="793"/>
                </a:lnTo>
                <a:lnTo>
                  <a:pt x="1201" y="793"/>
                </a:lnTo>
                <a:lnTo>
                  <a:pt x="1192" y="793"/>
                </a:lnTo>
                <a:lnTo>
                  <a:pt x="1153" y="793"/>
                </a:lnTo>
                <a:lnTo>
                  <a:pt x="1018" y="793"/>
                </a:lnTo>
                <a:lnTo>
                  <a:pt x="1017" y="789"/>
                </a:lnTo>
                <a:lnTo>
                  <a:pt x="1017" y="782"/>
                </a:lnTo>
                <a:lnTo>
                  <a:pt x="1017" y="772"/>
                </a:lnTo>
                <a:lnTo>
                  <a:pt x="1017" y="723"/>
                </a:lnTo>
                <a:lnTo>
                  <a:pt x="1017" y="558"/>
                </a:lnTo>
                <a:lnTo>
                  <a:pt x="1017" y="0"/>
                </a:lnTo>
                <a:close/>
                <a:moveTo>
                  <a:pt x="12" y="0"/>
                </a:moveTo>
                <a:lnTo>
                  <a:pt x="216" y="0"/>
                </a:lnTo>
                <a:lnTo>
                  <a:pt x="278" y="0"/>
                </a:lnTo>
                <a:lnTo>
                  <a:pt x="307" y="0"/>
                </a:lnTo>
                <a:lnTo>
                  <a:pt x="317" y="1"/>
                </a:lnTo>
                <a:lnTo>
                  <a:pt x="324" y="1"/>
                </a:lnTo>
                <a:lnTo>
                  <a:pt x="330" y="3"/>
                </a:lnTo>
                <a:lnTo>
                  <a:pt x="335" y="3"/>
                </a:lnTo>
                <a:lnTo>
                  <a:pt x="340" y="4"/>
                </a:lnTo>
                <a:lnTo>
                  <a:pt x="343" y="4"/>
                </a:lnTo>
                <a:lnTo>
                  <a:pt x="349" y="5"/>
                </a:lnTo>
                <a:lnTo>
                  <a:pt x="355" y="6"/>
                </a:lnTo>
                <a:lnTo>
                  <a:pt x="359" y="6"/>
                </a:lnTo>
                <a:lnTo>
                  <a:pt x="360" y="8"/>
                </a:lnTo>
                <a:lnTo>
                  <a:pt x="363" y="8"/>
                </a:lnTo>
                <a:lnTo>
                  <a:pt x="365" y="9"/>
                </a:lnTo>
                <a:lnTo>
                  <a:pt x="367" y="9"/>
                </a:lnTo>
                <a:lnTo>
                  <a:pt x="388" y="16"/>
                </a:lnTo>
                <a:lnTo>
                  <a:pt x="390" y="17"/>
                </a:lnTo>
                <a:lnTo>
                  <a:pt x="394" y="19"/>
                </a:lnTo>
                <a:lnTo>
                  <a:pt x="396" y="20"/>
                </a:lnTo>
                <a:lnTo>
                  <a:pt x="399" y="21"/>
                </a:lnTo>
                <a:lnTo>
                  <a:pt x="401" y="22"/>
                </a:lnTo>
                <a:lnTo>
                  <a:pt x="402" y="25"/>
                </a:lnTo>
                <a:lnTo>
                  <a:pt x="406" y="26"/>
                </a:lnTo>
                <a:lnTo>
                  <a:pt x="409" y="27"/>
                </a:lnTo>
                <a:lnTo>
                  <a:pt x="410" y="28"/>
                </a:lnTo>
                <a:lnTo>
                  <a:pt x="412" y="30"/>
                </a:lnTo>
                <a:lnTo>
                  <a:pt x="413" y="31"/>
                </a:lnTo>
                <a:lnTo>
                  <a:pt x="416" y="32"/>
                </a:lnTo>
                <a:lnTo>
                  <a:pt x="417" y="33"/>
                </a:lnTo>
                <a:lnTo>
                  <a:pt x="418" y="34"/>
                </a:lnTo>
                <a:lnTo>
                  <a:pt x="421" y="36"/>
                </a:lnTo>
                <a:lnTo>
                  <a:pt x="423" y="38"/>
                </a:lnTo>
                <a:lnTo>
                  <a:pt x="429" y="44"/>
                </a:lnTo>
                <a:lnTo>
                  <a:pt x="434" y="49"/>
                </a:lnTo>
                <a:lnTo>
                  <a:pt x="438" y="53"/>
                </a:lnTo>
                <a:lnTo>
                  <a:pt x="440" y="55"/>
                </a:lnTo>
                <a:lnTo>
                  <a:pt x="441" y="58"/>
                </a:lnTo>
                <a:lnTo>
                  <a:pt x="442" y="60"/>
                </a:lnTo>
                <a:lnTo>
                  <a:pt x="445" y="62"/>
                </a:lnTo>
                <a:lnTo>
                  <a:pt x="445" y="64"/>
                </a:lnTo>
                <a:lnTo>
                  <a:pt x="446" y="66"/>
                </a:lnTo>
                <a:lnTo>
                  <a:pt x="447" y="69"/>
                </a:lnTo>
                <a:lnTo>
                  <a:pt x="450" y="73"/>
                </a:lnTo>
                <a:lnTo>
                  <a:pt x="452" y="76"/>
                </a:lnTo>
                <a:lnTo>
                  <a:pt x="454" y="81"/>
                </a:lnTo>
                <a:lnTo>
                  <a:pt x="454" y="82"/>
                </a:lnTo>
                <a:lnTo>
                  <a:pt x="457" y="86"/>
                </a:lnTo>
                <a:lnTo>
                  <a:pt x="457" y="88"/>
                </a:lnTo>
                <a:lnTo>
                  <a:pt x="458" y="91"/>
                </a:lnTo>
                <a:lnTo>
                  <a:pt x="461" y="95"/>
                </a:lnTo>
                <a:lnTo>
                  <a:pt x="461" y="98"/>
                </a:lnTo>
                <a:lnTo>
                  <a:pt x="462" y="100"/>
                </a:lnTo>
                <a:lnTo>
                  <a:pt x="462" y="102"/>
                </a:lnTo>
                <a:lnTo>
                  <a:pt x="463" y="104"/>
                </a:lnTo>
                <a:lnTo>
                  <a:pt x="463" y="106"/>
                </a:lnTo>
                <a:lnTo>
                  <a:pt x="464" y="108"/>
                </a:lnTo>
                <a:lnTo>
                  <a:pt x="465" y="112"/>
                </a:lnTo>
                <a:lnTo>
                  <a:pt x="469" y="127"/>
                </a:lnTo>
                <a:lnTo>
                  <a:pt x="469" y="131"/>
                </a:lnTo>
                <a:lnTo>
                  <a:pt x="471" y="142"/>
                </a:lnTo>
                <a:lnTo>
                  <a:pt x="471" y="147"/>
                </a:lnTo>
                <a:lnTo>
                  <a:pt x="473" y="152"/>
                </a:lnTo>
                <a:lnTo>
                  <a:pt x="473" y="159"/>
                </a:lnTo>
                <a:lnTo>
                  <a:pt x="474" y="166"/>
                </a:lnTo>
                <a:lnTo>
                  <a:pt x="474" y="170"/>
                </a:lnTo>
                <a:lnTo>
                  <a:pt x="474" y="174"/>
                </a:lnTo>
                <a:lnTo>
                  <a:pt x="474" y="176"/>
                </a:lnTo>
                <a:lnTo>
                  <a:pt x="474" y="180"/>
                </a:lnTo>
                <a:lnTo>
                  <a:pt x="475" y="211"/>
                </a:lnTo>
                <a:lnTo>
                  <a:pt x="475" y="233"/>
                </a:lnTo>
                <a:lnTo>
                  <a:pt x="475" y="239"/>
                </a:lnTo>
                <a:lnTo>
                  <a:pt x="474" y="246"/>
                </a:lnTo>
                <a:lnTo>
                  <a:pt x="474" y="249"/>
                </a:lnTo>
                <a:lnTo>
                  <a:pt x="474" y="253"/>
                </a:lnTo>
                <a:lnTo>
                  <a:pt x="474" y="257"/>
                </a:lnTo>
                <a:lnTo>
                  <a:pt x="474" y="259"/>
                </a:lnTo>
                <a:lnTo>
                  <a:pt x="473" y="274"/>
                </a:lnTo>
                <a:lnTo>
                  <a:pt x="469" y="302"/>
                </a:lnTo>
                <a:lnTo>
                  <a:pt x="468" y="307"/>
                </a:lnTo>
                <a:lnTo>
                  <a:pt x="467" y="309"/>
                </a:lnTo>
                <a:lnTo>
                  <a:pt x="467" y="311"/>
                </a:lnTo>
                <a:lnTo>
                  <a:pt x="465" y="314"/>
                </a:lnTo>
                <a:lnTo>
                  <a:pt x="464" y="319"/>
                </a:lnTo>
                <a:lnTo>
                  <a:pt x="464" y="320"/>
                </a:lnTo>
                <a:lnTo>
                  <a:pt x="463" y="322"/>
                </a:lnTo>
                <a:lnTo>
                  <a:pt x="463" y="324"/>
                </a:lnTo>
                <a:lnTo>
                  <a:pt x="462" y="327"/>
                </a:lnTo>
                <a:lnTo>
                  <a:pt x="459" y="335"/>
                </a:lnTo>
                <a:lnTo>
                  <a:pt x="458" y="337"/>
                </a:lnTo>
                <a:lnTo>
                  <a:pt x="457" y="341"/>
                </a:lnTo>
                <a:lnTo>
                  <a:pt x="456" y="343"/>
                </a:lnTo>
                <a:lnTo>
                  <a:pt x="454" y="347"/>
                </a:lnTo>
                <a:lnTo>
                  <a:pt x="453" y="349"/>
                </a:lnTo>
                <a:lnTo>
                  <a:pt x="452" y="350"/>
                </a:lnTo>
                <a:lnTo>
                  <a:pt x="451" y="353"/>
                </a:lnTo>
                <a:lnTo>
                  <a:pt x="450" y="355"/>
                </a:lnTo>
                <a:lnTo>
                  <a:pt x="447" y="358"/>
                </a:lnTo>
                <a:lnTo>
                  <a:pt x="446" y="360"/>
                </a:lnTo>
                <a:lnTo>
                  <a:pt x="446" y="361"/>
                </a:lnTo>
                <a:lnTo>
                  <a:pt x="445" y="364"/>
                </a:lnTo>
                <a:lnTo>
                  <a:pt x="444" y="365"/>
                </a:lnTo>
                <a:lnTo>
                  <a:pt x="442" y="368"/>
                </a:lnTo>
                <a:lnTo>
                  <a:pt x="440" y="369"/>
                </a:lnTo>
                <a:lnTo>
                  <a:pt x="438" y="371"/>
                </a:lnTo>
                <a:lnTo>
                  <a:pt x="434" y="376"/>
                </a:lnTo>
                <a:lnTo>
                  <a:pt x="429" y="382"/>
                </a:lnTo>
                <a:lnTo>
                  <a:pt x="427" y="385"/>
                </a:lnTo>
                <a:lnTo>
                  <a:pt x="422" y="388"/>
                </a:lnTo>
                <a:lnTo>
                  <a:pt x="419" y="390"/>
                </a:lnTo>
                <a:lnTo>
                  <a:pt x="417" y="392"/>
                </a:lnTo>
                <a:lnTo>
                  <a:pt x="416" y="393"/>
                </a:lnTo>
                <a:lnTo>
                  <a:pt x="413" y="394"/>
                </a:lnTo>
                <a:lnTo>
                  <a:pt x="412" y="396"/>
                </a:lnTo>
                <a:lnTo>
                  <a:pt x="410" y="397"/>
                </a:lnTo>
                <a:lnTo>
                  <a:pt x="409" y="398"/>
                </a:lnTo>
                <a:lnTo>
                  <a:pt x="406" y="399"/>
                </a:lnTo>
                <a:lnTo>
                  <a:pt x="404" y="399"/>
                </a:lnTo>
                <a:lnTo>
                  <a:pt x="402" y="401"/>
                </a:lnTo>
                <a:lnTo>
                  <a:pt x="400" y="402"/>
                </a:lnTo>
                <a:lnTo>
                  <a:pt x="396" y="404"/>
                </a:lnTo>
                <a:lnTo>
                  <a:pt x="387" y="409"/>
                </a:lnTo>
                <a:lnTo>
                  <a:pt x="389" y="410"/>
                </a:lnTo>
                <a:lnTo>
                  <a:pt x="392" y="414"/>
                </a:lnTo>
                <a:lnTo>
                  <a:pt x="398" y="419"/>
                </a:lnTo>
                <a:lnTo>
                  <a:pt x="404" y="424"/>
                </a:lnTo>
                <a:lnTo>
                  <a:pt x="406" y="427"/>
                </a:lnTo>
                <a:lnTo>
                  <a:pt x="409" y="430"/>
                </a:lnTo>
                <a:lnTo>
                  <a:pt x="411" y="432"/>
                </a:lnTo>
                <a:lnTo>
                  <a:pt x="412" y="435"/>
                </a:lnTo>
                <a:lnTo>
                  <a:pt x="413" y="437"/>
                </a:lnTo>
                <a:lnTo>
                  <a:pt x="415" y="438"/>
                </a:lnTo>
                <a:lnTo>
                  <a:pt x="416" y="441"/>
                </a:lnTo>
                <a:lnTo>
                  <a:pt x="417" y="442"/>
                </a:lnTo>
                <a:lnTo>
                  <a:pt x="417" y="444"/>
                </a:lnTo>
                <a:lnTo>
                  <a:pt x="419" y="447"/>
                </a:lnTo>
                <a:lnTo>
                  <a:pt x="422" y="452"/>
                </a:lnTo>
                <a:lnTo>
                  <a:pt x="423" y="453"/>
                </a:lnTo>
                <a:lnTo>
                  <a:pt x="424" y="455"/>
                </a:lnTo>
                <a:lnTo>
                  <a:pt x="425" y="458"/>
                </a:lnTo>
                <a:lnTo>
                  <a:pt x="427" y="460"/>
                </a:lnTo>
                <a:lnTo>
                  <a:pt x="429" y="465"/>
                </a:lnTo>
                <a:lnTo>
                  <a:pt x="429" y="466"/>
                </a:lnTo>
                <a:lnTo>
                  <a:pt x="430" y="469"/>
                </a:lnTo>
                <a:lnTo>
                  <a:pt x="432" y="471"/>
                </a:lnTo>
                <a:lnTo>
                  <a:pt x="432" y="473"/>
                </a:lnTo>
                <a:lnTo>
                  <a:pt x="433" y="475"/>
                </a:lnTo>
                <a:lnTo>
                  <a:pt x="434" y="480"/>
                </a:lnTo>
                <a:lnTo>
                  <a:pt x="436" y="486"/>
                </a:lnTo>
                <a:lnTo>
                  <a:pt x="446" y="516"/>
                </a:lnTo>
                <a:lnTo>
                  <a:pt x="446" y="519"/>
                </a:lnTo>
                <a:lnTo>
                  <a:pt x="446" y="521"/>
                </a:lnTo>
                <a:lnTo>
                  <a:pt x="447" y="524"/>
                </a:lnTo>
                <a:lnTo>
                  <a:pt x="447" y="526"/>
                </a:lnTo>
                <a:lnTo>
                  <a:pt x="448" y="529"/>
                </a:lnTo>
                <a:lnTo>
                  <a:pt x="450" y="534"/>
                </a:lnTo>
                <a:lnTo>
                  <a:pt x="451" y="540"/>
                </a:lnTo>
                <a:lnTo>
                  <a:pt x="451" y="542"/>
                </a:lnTo>
                <a:lnTo>
                  <a:pt x="452" y="545"/>
                </a:lnTo>
                <a:lnTo>
                  <a:pt x="452" y="547"/>
                </a:lnTo>
                <a:lnTo>
                  <a:pt x="453" y="553"/>
                </a:lnTo>
                <a:lnTo>
                  <a:pt x="454" y="556"/>
                </a:lnTo>
                <a:lnTo>
                  <a:pt x="456" y="560"/>
                </a:lnTo>
                <a:lnTo>
                  <a:pt x="457" y="565"/>
                </a:lnTo>
                <a:lnTo>
                  <a:pt x="457" y="569"/>
                </a:lnTo>
                <a:lnTo>
                  <a:pt x="458" y="571"/>
                </a:lnTo>
                <a:lnTo>
                  <a:pt x="458" y="574"/>
                </a:lnTo>
                <a:lnTo>
                  <a:pt x="459" y="579"/>
                </a:lnTo>
                <a:lnTo>
                  <a:pt x="461" y="581"/>
                </a:lnTo>
                <a:lnTo>
                  <a:pt x="461" y="587"/>
                </a:lnTo>
                <a:lnTo>
                  <a:pt x="462" y="592"/>
                </a:lnTo>
                <a:lnTo>
                  <a:pt x="463" y="595"/>
                </a:lnTo>
                <a:lnTo>
                  <a:pt x="463" y="597"/>
                </a:lnTo>
                <a:lnTo>
                  <a:pt x="464" y="601"/>
                </a:lnTo>
                <a:lnTo>
                  <a:pt x="468" y="613"/>
                </a:lnTo>
                <a:lnTo>
                  <a:pt x="469" y="620"/>
                </a:lnTo>
                <a:lnTo>
                  <a:pt x="470" y="626"/>
                </a:lnTo>
                <a:lnTo>
                  <a:pt x="470" y="629"/>
                </a:lnTo>
                <a:lnTo>
                  <a:pt x="471" y="631"/>
                </a:lnTo>
                <a:lnTo>
                  <a:pt x="471" y="634"/>
                </a:lnTo>
                <a:lnTo>
                  <a:pt x="473" y="640"/>
                </a:lnTo>
                <a:lnTo>
                  <a:pt x="474" y="642"/>
                </a:lnTo>
                <a:lnTo>
                  <a:pt x="475" y="647"/>
                </a:lnTo>
                <a:lnTo>
                  <a:pt x="475" y="652"/>
                </a:lnTo>
                <a:lnTo>
                  <a:pt x="476" y="656"/>
                </a:lnTo>
                <a:lnTo>
                  <a:pt x="476" y="658"/>
                </a:lnTo>
                <a:lnTo>
                  <a:pt x="477" y="660"/>
                </a:lnTo>
                <a:lnTo>
                  <a:pt x="479" y="665"/>
                </a:lnTo>
                <a:lnTo>
                  <a:pt x="479" y="668"/>
                </a:lnTo>
                <a:lnTo>
                  <a:pt x="480" y="674"/>
                </a:lnTo>
                <a:lnTo>
                  <a:pt x="481" y="676"/>
                </a:lnTo>
                <a:lnTo>
                  <a:pt x="483" y="686"/>
                </a:lnTo>
                <a:lnTo>
                  <a:pt x="486" y="697"/>
                </a:lnTo>
                <a:lnTo>
                  <a:pt x="488" y="708"/>
                </a:lnTo>
                <a:lnTo>
                  <a:pt x="491" y="718"/>
                </a:lnTo>
                <a:lnTo>
                  <a:pt x="493" y="731"/>
                </a:lnTo>
                <a:lnTo>
                  <a:pt x="496" y="743"/>
                </a:lnTo>
                <a:lnTo>
                  <a:pt x="499" y="754"/>
                </a:lnTo>
                <a:lnTo>
                  <a:pt x="499" y="758"/>
                </a:lnTo>
                <a:lnTo>
                  <a:pt x="499" y="761"/>
                </a:lnTo>
                <a:lnTo>
                  <a:pt x="500" y="763"/>
                </a:lnTo>
                <a:lnTo>
                  <a:pt x="502" y="768"/>
                </a:lnTo>
                <a:lnTo>
                  <a:pt x="502" y="770"/>
                </a:lnTo>
                <a:lnTo>
                  <a:pt x="503" y="776"/>
                </a:lnTo>
                <a:lnTo>
                  <a:pt x="504" y="779"/>
                </a:lnTo>
                <a:lnTo>
                  <a:pt x="506" y="793"/>
                </a:lnTo>
                <a:lnTo>
                  <a:pt x="307" y="793"/>
                </a:lnTo>
                <a:lnTo>
                  <a:pt x="306" y="787"/>
                </a:lnTo>
                <a:lnTo>
                  <a:pt x="303" y="781"/>
                </a:lnTo>
                <a:lnTo>
                  <a:pt x="303" y="779"/>
                </a:lnTo>
                <a:lnTo>
                  <a:pt x="301" y="769"/>
                </a:lnTo>
                <a:lnTo>
                  <a:pt x="301" y="764"/>
                </a:lnTo>
                <a:lnTo>
                  <a:pt x="299" y="753"/>
                </a:lnTo>
                <a:lnTo>
                  <a:pt x="297" y="747"/>
                </a:lnTo>
                <a:lnTo>
                  <a:pt x="296" y="742"/>
                </a:lnTo>
                <a:lnTo>
                  <a:pt x="295" y="730"/>
                </a:lnTo>
                <a:lnTo>
                  <a:pt x="291" y="719"/>
                </a:lnTo>
                <a:lnTo>
                  <a:pt x="291" y="715"/>
                </a:lnTo>
                <a:lnTo>
                  <a:pt x="289" y="706"/>
                </a:lnTo>
                <a:lnTo>
                  <a:pt x="288" y="696"/>
                </a:lnTo>
                <a:lnTo>
                  <a:pt x="286" y="686"/>
                </a:lnTo>
                <a:lnTo>
                  <a:pt x="284" y="676"/>
                </a:lnTo>
                <a:lnTo>
                  <a:pt x="284" y="673"/>
                </a:lnTo>
                <a:lnTo>
                  <a:pt x="282" y="663"/>
                </a:lnTo>
                <a:lnTo>
                  <a:pt x="280" y="657"/>
                </a:lnTo>
                <a:lnTo>
                  <a:pt x="279" y="652"/>
                </a:lnTo>
                <a:lnTo>
                  <a:pt x="278" y="646"/>
                </a:lnTo>
                <a:lnTo>
                  <a:pt x="277" y="640"/>
                </a:lnTo>
                <a:lnTo>
                  <a:pt x="276" y="634"/>
                </a:lnTo>
                <a:lnTo>
                  <a:pt x="274" y="628"/>
                </a:lnTo>
                <a:lnTo>
                  <a:pt x="273" y="621"/>
                </a:lnTo>
                <a:lnTo>
                  <a:pt x="272" y="615"/>
                </a:lnTo>
                <a:lnTo>
                  <a:pt x="268" y="598"/>
                </a:lnTo>
                <a:lnTo>
                  <a:pt x="268" y="595"/>
                </a:lnTo>
                <a:lnTo>
                  <a:pt x="266" y="586"/>
                </a:lnTo>
                <a:lnTo>
                  <a:pt x="265" y="576"/>
                </a:lnTo>
                <a:lnTo>
                  <a:pt x="263" y="568"/>
                </a:lnTo>
                <a:lnTo>
                  <a:pt x="261" y="559"/>
                </a:lnTo>
                <a:lnTo>
                  <a:pt x="261" y="556"/>
                </a:lnTo>
                <a:lnTo>
                  <a:pt x="259" y="548"/>
                </a:lnTo>
                <a:lnTo>
                  <a:pt x="257" y="541"/>
                </a:lnTo>
                <a:lnTo>
                  <a:pt x="257" y="537"/>
                </a:lnTo>
                <a:lnTo>
                  <a:pt x="256" y="530"/>
                </a:lnTo>
                <a:lnTo>
                  <a:pt x="255" y="526"/>
                </a:lnTo>
                <a:lnTo>
                  <a:pt x="254" y="523"/>
                </a:lnTo>
                <a:lnTo>
                  <a:pt x="254" y="520"/>
                </a:lnTo>
                <a:lnTo>
                  <a:pt x="253" y="513"/>
                </a:lnTo>
                <a:lnTo>
                  <a:pt x="250" y="505"/>
                </a:lnTo>
                <a:lnTo>
                  <a:pt x="250" y="503"/>
                </a:lnTo>
                <a:lnTo>
                  <a:pt x="249" y="496"/>
                </a:lnTo>
                <a:lnTo>
                  <a:pt x="247" y="488"/>
                </a:lnTo>
                <a:lnTo>
                  <a:pt x="245" y="481"/>
                </a:lnTo>
                <a:lnTo>
                  <a:pt x="244" y="479"/>
                </a:lnTo>
                <a:lnTo>
                  <a:pt x="243" y="475"/>
                </a:lnTo>
                <a:lnTo>
                  <a:pt x="243" y="473"/>
                </a:lnTo>
                <a:lnTo>
                  <a:pt x="243" y="471"/>
                </a:lnTo>
                <a:lnTo>
                  <a:pt x="242" y="469"/>
                </a:lnTo>
                <a:lnTo>
                  <a:pt x="241" y="464"/>
                </a:lnTo>
                <a:lnTo>
                  <a:pt x="239" y="462"/>
                </a:lnTo>
                <a:lnTo>
                  <a:pt x="238" y="459"/>
                </a:lnTo>
                <a:lnTo>
                  <a:pt x="237" y="457"/>
                </a:lnTo>
                <a:lnTo>
                  <a:pt x="236" y="454"/>
                </a:lnTo>
                <a:lnTo>
                  <a:pt x="233" y="452"/>
                </a:lnTo>
                <a:lnTo>
                  <a:pt x="232" y="451"/>
                </a:lnTo>
                <a:lnTo>
                  <a:pt x="230" y="447"/>
                </a:lnTo>
                <a:lnTo>
                  <a:pt x="226" y="446"/>
                </a:lnTo>
                <a:lnTo>
                  <a:pt x="221" y="444"/>
                </a:lnTo>
                <a:lnTo>
                  <a:pt x="216" y="444"/>
                </a:lnTo>
                <a:lnTo>
                  <a:pt x="205" y="446"/>
                </a:lnTo>
                <a:lnTo>
                  <a:pt x="205" y="793"/>
                </a:lnTo>
                <a:lnTo>
                  <a:pt x="12" y="793"/>
                </a:lnTo>
                <a:lnTo>
                  <a:pt x="12" y="0"/>
                </a:lnTo>
                <a:close/>
              </a:path>
            </a:pathLst>
          </a:custGeom>
          <a:solidFill>
            <a:srgbClr val="003F56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FR" sz="1350">
              <a:solidFill>
                <a:srgbClr val="000000"/>
              </a:solidFill>
              <a:sym typeface="+mn-lt"/>
            </a:endParaRPr>
          </a:p>
        </p:txBody>
      </p:sp>
      <p:sp>
        <p:nvSpPr>
          <p:cNvPr id="31" name="Rectangle 7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sp>
        <p:nvSpPr>
          <p:cNvPr id="32" name="Slide Number Placeholder" hidden="1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D0D672A5-0AA1-4057-B800-00208584BB42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3" name="Footer Placeholder" hidden="1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7970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3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3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5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7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8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14883A25-DD65-46A7-BD2B-107F244CDCB5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9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0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1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2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3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4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5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6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7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8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ABE8C75F-F92B-463A-AF5B-B0028649DA0A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1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408232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4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06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4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6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8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9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C2B4C825-90F0-4DCC-AA1A-F77ED6D44875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0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1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2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3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4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5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6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7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8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9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tabLst>
                <a:tab pos="939404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fr-FR" dirty="0"/>
          </a:p>
        </p:txBody>
      </p:sp>
      <p:sp>
        <p:nvSpPr>
          <p:cNvPr id="31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2D210C4D-20A4-4FD9-86DC-678EA17396A1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2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32044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6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0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8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10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11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D80D6B13-0D11-4E42-B8C8-6B1326148364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2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3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4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5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6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7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8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9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20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21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81231" y="1282500"/>
            <a:ext cx="7879374" cy="962571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defRPr>
                <a:latin typeface="+mj-lt"/>
                <a:sym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fr-FR" dirty="0"/>
          </a:p>
        </p:txBody>
      </p:sp>
      <p:sp>
        <p:nvSpPr>
          <p:cNvPr id="33" name="Slide Number Placeholder" hidden="1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1CD32D7A-D6E8-4C18-9789-D5D7CEDB7A10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4" name="Footer Placeholder" hidden="1"/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647253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4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50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4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6" name="Image 2" descr="frise.png"/>
          <p:cNvPicPr>
            <a:picLocks noChangeAspect="1"/>
          </p:cNvPicPr>
          <p:nvPr/>
        </p:nvPicPr>
        <p:blipFill>
          <a:blip r:embed="rId12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8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9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BB94F9AC-E354-4CEB-B218-BF1187D646FC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0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1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2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3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4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5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6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7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8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9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1" name="Objec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51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31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7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>
              <a:solidFill>
                <a:srgbClr val="000000"/>
              </a:solidFill>
            </a:endParaRPr>
          </a:p>
        </p:txBody>
      </p:sp>
      <p:sp>
        <p:nvSpPr>
          <p:cNvPr id="33" name="Rectangle à coins arrondis 13"/>
          <p:cNvSpPr>
            <a:spLocks noChangeArrowheads="1"/>
          </p:cNvSpPr>
          <p:nvPr userDrawn="1"/>
        </p:nvSpPr>
        <p:spPr bwMode="auto">
          <a:xfrm>
            <a:off x="0" y="342900"/>
            <a:ext cx="3043604" cy="4800600"/>
          </a:xfrm>
          <a:prstGeom prst="roundRect">
            <a:avLst>
              <a:gd name="adj" fmla="val 33130"/>
            </a:avLst>
          </a:prstGeom>
          <a:solidFill>
            <a:schemeClr val="accent1"/>
          </a:solidFill>
          <a:ln>
            <a:noFill/>
          </a:ln>
          <a:extLst/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 smtClean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pic>
        <p:nvPicPr>
          <p:cNvPr id="34" name="Image 14" descr="trame-dégradé2-ppt.png"/>
          <p:cNvPicPr>
            <a:picLocks noChangeAspect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2602523" y="2000250"/>
            <a:ext cx="339969" cy="127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Rectangle 7"/>
          <p:cNvSpPr>
            <a:spLocks noChangeArrowheads="1"/>
          </p:cNvSpPr>
          <p:nvPr userDrawn="1"/>
        </p:nvSpPr>
        <p:spPr bwMode="auto">
          <a:xfrm>
            <a:off x="0" y="342900"/>
            <a:ext cx="1863969" cy="48006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 smtClean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grpSp>
        <p:nvGrpSpPr>
          <p:cNvPr id="36" name="Position Lines"/>
          <p:cNvGrpSpPr>
            <a:grpSpLocks/>
          </p:cNvGrpSpPr>
          <p:nvPr userDrawn="1"/>
        </p:nvGrpSpPr>
        <p:grpSpPr bwMode="auto">
          <a:xfrm>
            <a:off x="332643" y="5164931"/>
            <a:ext cx="3159369" cy="53579"/>
            <a:chOff x="360000" y="6886575"/>
            <a:chExt cx="3423600" cy="72000"/>
          </a:xfrm>
        </p:grpSpPr>
        <p:sp>
          <p:nvSpPr>
            <p:cNvPr id="37" name="Line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360000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8" name="Line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890372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9" name="Line"/>
            <p:cNvSpPr>
              <a:spLocks noChangeShapeType="1"/>
            </p:cNvSpPr>
            <p:nvPr userDrawn="1">
              <p:custDataLst>
                <p:tags r:id="rId6"/>
              </p:custDataLst>
            </p:nvPr>
          </p:nvSpPr>
          <p:spPr bwMode="auto">
            <a:xfrm>
              <a:off x="1174613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40" name="Line"/>
            <p:cNvSpPr>
              <a:spLocks noChangeShapeType="1"/>
            </p:cNvSpPr>
            <p:nvPr userDrawn="1">
              <p:custDataLst>
                <p:tags r:id="rId7"/>
              </p:custDataLst>
            </p:nvPr>
          </p:nvSpPr>
          <p:spPr bwMode="auto">
            <a:xfrm>
              <a:off x="3504122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41" name="Line"/>
            <p:cNvSpPr>
              <a:spLocks noChangeShapeType="1"/>
            </p:cNvSpPr>
            <p:nvPr userDrawn="1">
              <p:custDataLst>
                <p:tags r:id="rId8"/>
              </p:custDataLst>
            </p:nvPr>
          </p:nvSpPr>
          <p:spPr bwMode="auto">
            <a:xfrm>
              <a:off x="3783600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</p:grpSp>
      <p:pic>
        <p:nvPicPr>
          <p:cNvPr id="42" name="Picture 238" descr="D:\Users\bertrand_ballarin\AppData\Local\Microsoft\Windows\Temporary Internet Files\Content.Outlook\E047WPI2\bloc-marque-sgmap.jpg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8176846" y="4085035"/>
            <a:ext cx="967154" cy="1058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176153" y="2512118"/>
            <a:ext cx="5251045" cy="238912"/>
          </a:xfrm>
        </p:spPr>
        <p:txBody>
          <a:bodyPr anchor="b">
            <a:spAutoFit/>
          </a:bodyPr>
          <a:lstStyle>
            <a:lvl1pPr marL="396479" indent="-396479" algn="l">
              <a:tabLst>
                <a:tab pos="609600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43" name="Slide Number Placeholder" hidden="1"/>
          <p:cNvSpPr>
            <a:spLocks noGrp="1"/>
          </p:cNvSpPr>
          <p:nvPr>
            <p:ph type="sldNum" sz="quarter" idx="10"/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013BB2DB-0B71-4168-9A06-D1EFA10EF183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44" name="Footer Placeholder" hidden="1"/>
          <p:cNvSpPr>
            <a:spLocks noGrp="1"/>
          </p:cNvSpPr>
          <p:nvPr>
            <p:ph type="ftr" sz="quarter" idx="11"/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650057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>
              <a:solidFill>
                <a:srgbClr val="000000"/>
              </a:solidFill>
            </a:endParaRPr>
          </a:p>
        </p:txBody>
      </p:sp>
      <p:sp>
        <p:nvSpPr>
          <p:cNvPr id="7" name="Rectangle à coins arrondis 10"/>
          <p:cNvSpPr>
            <a:spLocks noChangeArrowheads="1"/>
          </p:cNvSpPr>
          <p:nvPr userDrawn="1"/>
        </p:nvSpPr>
        <p:spPr bwMode="auto">
          <a:xfrm>
            <a:off x="243254" y="627460"/>
            <a:ext cx="6254262" cy="4516040"/>
          </a:xfrm>
          <a:prstGeom prst="roundRect">
            <a:avLst>
              <a:gd name="adj" fmla="val 18106"/>
            </a:avLst>
          </a:prstGeom>
          <a:solidFill>
            <a:schemeClr val="accent1"/>
          </a:solidFill>
          <a:ln>
            <a:noFill/>
          </a:ln>
          <a:extLst/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 smtClean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8" name="Rectangle 45"/>
          <p:cNvSpPr>
            <a:spLocks noChangeArrowheads="1"/>
          </p:cNvSpPr>
          <p:nvPr userDrawn="1"/>
        </p:nvSpPr>
        <p:spPr bwMode="auto">
          <a:xfrm>
            <a:off x="0" y="627460"/>
            <a:ext cx="1863969" cy="451604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 smtClean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9" name="Position Lines"/>
          <p:cNvSpPr>
            <a:spLocks noChangeShapeType="1"/>
          </p:cNvSpPr>
          <p:nvPr/>
        </p:nvSpPr>
        <p:spPr bwMode="auto">
          <a:xfrm>
            <a:off x="332643" y="5164931"/>
            <a:ext cx="0" cy="53579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 sz="1350"/>
          </a:p>
        </p:txBody>
      </p:sp>
      <p:pic>
        <p:nvPicPr>
          <p:cNvPr id="11" name="Picture 238" descr="D:\Users\bertrand_ballarin\AppData\Local\Microsoft\Windows\Temporary Internet Files\Content.Outlook\E047WPI2\bloc-marque-sgmap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176846" y="4085035"/>
            <a:ext cx="967154" cy="1058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ype of document"/>
          <p:cNvSpPr>
            <a:spLocks noGrp="1"/>
          </p:cNvSpPr>
          <p:nvPr>
            <p:ph type="body" sz="quarter" idx="18"/>
          </p:nvPr>
        </p:nvSpPr>
        <p:spPr>
          <a:xfrm>
            <a:off x="976792" y="4029912"/>
            <a:ext cx="5305343" cy="225382"/>
          </a:xfrm>
        </p:spPr>
        <p:txBody>
          <a:bodyPr anchor="ctr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350">
                <a:solidFill>
                  <a:schemeClr val="tx2"/>
                </a:solidFill>
                <a:latin typeface="+mn-lt"/>
                <a:sym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defRPr/>
            </a:lvl2pPr>
            <a:lvl3pPr>
              <a:lnSpc>
                <a:spcPct val="90000"/>
              </a:lnSpc>
              <a:spcBef>
                <a:spcPts val="0"/>
              </a:spcBef>
              <a:defRPr/>
            </a:lvl3pPr>
            <a:lvl4pPr>
              <a:lnSpc>
                <a:spcPct val="90000"/>
              </a:lnSpc>
              <a:spcBef>
                <a:spcPts val="0"/>
              </a:spcBef>
              <a:defRPr/>
            </a:lvl4pPr>
            <a:lvl5pPr>
              <a:lnSpc>
                <a:spcPct val="9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roject name"/>
          <p:cNvSpPr>
            <a:spLocks noGrp="1"/>
          </p:cNvSpPr>
          <p:nvPr>
            <p:ph type="title"/>
          </p:nvPr>
        </p:nvSpPr>
        <p:spPr>
          <a:xfrm>
            <a:off x="994849" y="2008162"/>
            <a:ext cx="5305343" cy="496800"/>
          </a:xfrm>
        </p:spPr>
        <p:txBody>
          <a:bodyPr anchor="t">
            <a:noAutofit/>
          </a:bodyPr>
          <a:lstStyle>
            <a:lvl1pPr>
              <a:defRPr sz="1725" b="1" baseline="0">
                <a:latin typeface="+mj-lt"/>
                <a:sym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9"/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3C6643F2-7466-4227-84C2-FA0A0039CFEB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20"/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68595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3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0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3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5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7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8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6E9F3C7E-3B26-486B-AA31-37CC71075DD1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9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0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1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2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3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4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5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6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7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8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479EB0D0-DCBA-410A-8B57-7E907E914CC1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1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68915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 algn="r"/>
            <a:fld id="{5D025B4E-9701-4D8F-9D4B-030128F0C811}" type="datetime1">
              <a:rPr lang="fr-FR" cap="all" smtClean="0"/>
              <a:t>08/11/2023</a:t>
            </a:fld>
            <a:endParaRPr lang="fr-FR" cap="all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 smtClean="0"/>
              <a:t>DRH/SD/FORCQ2</a:t>
            </a:r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0000" y="2499742"/>
            <a:ext cx="8424000" cy="1923504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3250" b="1" cap="all" baseline="0"/>
            </a:lvl1pPr>
            <a:lvl2pPr marL="0" indent="0">
              <a:spcBef>
                <a:spcPts val="500"/>
              </a:spcBef>
              <a:spcAft>
                <a:spcPts val="0"/>
              </a:spcAft>
              <a:buNone/>
              <a:defRPr sz="1850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cxnSp>
        <p:nvCxnSpPr>
          <p:cNvPr id="12" name="Connecteur droit 11"/>
          <p:cNvCxnSpPr/>
          <p:nvPr userDrawn="1"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39045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26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3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5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7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8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C0F80D2F-CD6C-4398-B098-A473A494BB19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9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0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1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2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3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4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5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6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7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8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tabLst>
                <a:tab pos="939404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fr-FR" dirty="0"/>
          </a:p>
        </p:txBody>
      </p:sp>
      <p:sp>
        <p:nvSpPr>
          <p:cNvPr id="30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5C3F7B55-9F1B-4895-B732-2E6B34AC4333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1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832388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50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5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7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9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10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B26FD3C4-5227-42BB-865F-3E07F20FA799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1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2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3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4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5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6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7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8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9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20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Slide Number"/>
          <p:cNvSpPr txBox="1">
            <a:spLocks noChangeArrowheads="1"/>
          </p:cNvSpPr>
          <p:nvPr userDrawn="1"/>
        </p:nvSpPr>
        <p:spPr bwMode="auto">
          <a:xfrm rot="10800000" flipV="1">
            <a:off x="7892561" y="5036035"/>
            <a:ext cx="663820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fr-FR"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t>Version 1.1</a:t>
            </a:r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81231" y="1282500"/>
            <a:ext cx="7879374" cy="962571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defRPr>
                <a:latin typeface="+mj-lt"/>
                <a:sym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fr-FR" dirty="0"/>
          </a:p>
        </p:txBody>
      </p:sp>
      <p:sp>
        <p:nvSpPr>
          <p:cNvPr id="33" name="Slide Number Placeholder" hidden="1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D705FEDC-2E5E-44E1-9A55-685522D09C3A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4" name="Footer Placeholder" hidden="1"/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020906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74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3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5" name="Image 2" descr="frise.png"/>
          <p:cNvPicPr>
            <a:picLocks noChangeAspect="1"/>
          </p:cNvPicPr>
          <p:nvPr/>
        </p:nvPicPr>
        <p:blipFill>
          <a:blip r:embed="rId12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7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8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854FAC66-088D-4DF6-8ED3-89EBEBCC712A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9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0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1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2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3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4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5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6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7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8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0" name="Objec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75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3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7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sp>
        <p:nvSpPr>
          <p:cNvPr id="32" name="Rectangle à coins arrondis 13"/>
          <p:cNvSpPr>
            <a:spLocks noChangeArrowheads="1"/>
          </p:cNvSpPr>
          <p:nvPr userDrawn="1"/>
        </p:nvSpPr>
        <p:spPr bwMode="auto">
          <a:xfrm>
            <a:off x="0" y="342900"/>
            <a:ext cx="3043604" cy="4800600"/>
          </a:xfrm>
          <a:prstGeom prst="roundRect">
            <a:avLst>
              <a:gd name="adj" fmla="val 33130"/>
            </a:avLst>
          </a:prstGeom>
          <a:solidFill>
            <a:schemeClr val="accent1"/>
          </a:solidFill>
          <a:ln>
            <a:noFill/>
          </a:ln>
          <a:extLst/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 smtClean="0">
              <a:ea typeface="ヒラギノ角ゴ Pro W3"/>
              <a:cs typeface="ヒラギノ角ゴ Pro W3"/>
            </a:endParaRPr>
          </a:p>
        </p:txBody>
      </p:sp>
      <p:pic>
        <p:nvPicPr>
          <p:cNvPr id="33" name="Image 14" descr="trame-dégradé2-ppt.png"/>
          <p:cNvPicPr>
            <a:picLocks noChangeAspect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2602523" y="2000250"/>
            <a:ext cx="339969" cy="127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Rectangle 7"/>
          <p:cNvSpPr>
            <a:spLocks noChangeArrowheads="1"/>
          </p:cNvSpPr>
          <p:nvPr userDrawn="1"/>
        </p:nvSpPr>
        <p:spPr bwMode="auto">
          <a:xfrm>
            <a:off x="0" y="342900"/>
            <a:ext cx="1863969" cy="48006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 smtClean="0">
              <a:ea typeface="ヒラギノ角ゴ Pro W3"/>
              <a:cs typeface="ヒラギノ角ゴ Pro W3"/>
            </a:endParaRPr>
          </a:p>
        </p:txBody>
      </p:sp>
      <p:grpSp>
        <p:nvGrpSpPr>
          <p:cNvPr id="35" name="Position Lines"/>
          <p:cNvGrpSpPr>
            <a:grpSpLocks/>
          </p:cNvGrpSpPr>
          <p:nvPr userDrawn="1"/>
        </p:nvGrpSpPr>
        <p:grpSpPr bwMode="auto">
          <a:xfrm>
            <a:off x="332643" y="5164931"/>
            <a:ext cx="3159369" cy="53579"/>
            <a:chOff x="360000" y="6886575"/>
            <a:chExt cx="3423600" cy="72000"/>
          </a:xfrm>
        </p:grpSpPr>
        <p:sp>
          <p:nvSpPr>
            <p:cNvPr id="36" name="Line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360000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7" name="Line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890372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8" name="Line"/>
            <p:cNvSpPr>
              <a:spLocks noChangeShapeType="1"/>
            </p:cNvSpPr>
            <p:nvPr userDrawn="1">
              <p:custDataLst>
                <p:tags r:id="rId6"/>
              </p:custDataLst>
            </p:nvPr>
          </p:nvSpPr>
          <p:spPr bwMode="auto">
            <a:xfrm>
              <a:off x="1174613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9" name="Line"/>
            <p:cNvSpPr>
              <a:spLocks noChangeShapeType="1"/>
            </p:cNvSpPr>
            <p:nvPr userDrawn="1">
              <p:custDataLst>
                <p:tags r:id="rId7"/>
              </p:custDataLst>
            </p:nvPr>
          </p:nvSpPr>
          <p:spPr bwMode="auto">
            <a:xfrm>
              <a:off x="3504122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40" name="Line"/>
            <p:cNvSpPr>
              <a:spLocks noChangeShapeType="1"/>
            </p:cNvSpPr>
            <p:nvPr userDrawn="1">
              <p:custDataLst>
                <p:tags r:id="rId8"/>
              </p:custDataLst>
            </p:nvPr>
          </p:nvSpPr>
          <p:spPr bwMode="auto">
            <a:xfrm>
              <a:off x="3783600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</p:grpSp>
      <p:pic>
        <p:nvPicPr>
          <p:cNvPr id="41" name="Picture 238" descr="D:\Users\bertrand_ballarin\AppData\Local\Microsoft\Windows\Temporary Internet Files\Content.Outlook\E047WPI2\bloc-marque-sgmap.jpg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8176846" y="4085035"/>
            <a:ext cx="967154" cy="1058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176153" y="2512118"/>
            <a:ext cx="5251045" cy="238912"/>
          </a:xfrm>
        </p:spPr>
        <p:txBody>
          <a:bodyPr anchor="b">
            <a:spAutoFit/>
          </a:bodyPr>
          <a:lstStyle>
            <a:lvl1pPr marL="396479" indent="-396479" algn="l">
              <a:tabLst>
                <a:tab pos="609600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42" name="Slide Number Placeholder" hidden="1"/>
          <p:cNvSpPr>
            <a:spLocks noGrp="1"/>
          </p:cNvSpPr>
          <p:nvPr>
            <p:ph type="sldNum" sz="quarter" idx="10"/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FC4C5EB3-C2CA-4CE9-AC1C-5A3971CEA480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43" name="Footer Placeholder" hidden="1"/>
          <p:cNvSpPr>
            <a:spLocks noGrp="1"/>
          </p:cNvSpPr>
          <p:nvPr>
            <p:ph type="ftr" sz="quarter" idx="11"/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584767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sp>
        <p:nvSpPr>
          <p:cNvPr id="7" name="Rectangle à coins arrondis 10"/>
          <p:cNvSpPr>
            <a:spLocks noChangeArrowheads="1"/>
          </p:cNvSpPr>
          <p:nvPr userDrawn="1"/>
        </p:nvSpPr>
        <p:spPr bwMode="auto">
          <a:xfrm>
            <a:off x="243254" y="627460"/>
            <a:ext cx="6254262" cy="4516040"/>
          </a:xfrm>
          <a:prstGeom prst="roundRect">
            <a:avLst>
              <a:gd name="adj" fmla="val 18106"/>
            </a:avLst>
          </a:prstGeom>
          <a:solidFill>
            <a:schemeClr val="accent1"/>
          </a:solidFill>
          <a:ln>
            <a:noFill/>
          </a:ln>
          <a:extLst/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 smtClean="0">
              <a:ea typeface="ヒラギノ角ゴ Pro W3"/>
              <a:cs typeface="ヒラギノ角ゴ Pro W3"/>
            </a:endParaRPr>
          </a:p>
        </p:txBody>
      </p:sp>
      <p:sp>
        <p:nvSpPr>
          <p:cNvPr id="8" name="Rectangle 44"/>
          <p:cNvSpPr>
            <a:spLocks noChangeArrowheads="1"/>
          </p:cNvSpPr>
          <p:nvPr userDrawn="1"/>
        </p:nvSpPr>
        <p:spPr bwMode="auto">
          <a:xfrm>
            <a:off x="0" y="627460"/>
            <a:ext cx="1863969" cy="451604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 smtClean="0">
              <a:ea typeface="ヒラギノ角ゴ Pro W3"/>
              <a:cs typeface="ヒラギノ角ゴ Pro W3"/>
            </a:endParaRPr>
          </a:p>
        </p:txBody>
      </p:sp>
      <p:sp>
        <p:nvSpPr>
          <p:cNvPr id="9" name="Position Lines"/>
          <p:cNvSpPr>
            <a:spLocks noChangeShapeType="1"/>
          </p:cNvSpPr>
          <p:nvPr/>
        </p:nvSpPr>
        <p:spPr bwMode="auto">
          <a:xfrm>
            <a:off x="332643" y="5164931"/>
            <a:ext cx="0" cy="53579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 sz="1350"/>
          </a:p>
        </p:txBody>
      </p:sp>
      <p:pic>
        <p:nvPicPr>
          <p:cNvPr id="11" name="Picture 238" descr="D:\Users\bertrand_ballarin\AppData\Local\Microsoft\Windows\Temporary Internet Files\Content.Outlook\E047WPI2\bloc-marque-sgmap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176846" y="4085035"/>
            <a:ext cx="967154" cy="1058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ype of document"/>
          <p:cNvSpPr>
            <a:spLocks noGrp="1"/>
          </p:cNvSpPr>
          <p:nvPr>
            <p:ph type="body" sz="quarter" idx="18"/>
          </p:nvPr>
        </p:nvSpPr>
        <p:spPr>
          <a:xfrm>
            <a:off x="976792" y="4029912"/>
            <a:ext cx="5305343" cy="225382"/>
          </a:xfrm>
        </p:spPr>
        <p:txBody>
          <a:bodyPr anchor="ctr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350">
                <a:solidFill>
                  <a:schemeClr val="tx2"/>
                </a:solidFill>
                <a:latin typeface="+mn-lt"/>
                <a:sym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defRPr/>
            </a:lvl2pPr>
            <a:lvl3pPr>
              <a:lnSpc>
                <a:spcPct val="90000"/>
              </a:lnSpc>
              <a:spcBef>
                <a:spcPts val="0"/>
              </a:spcBef>
              <a:defRPr/>
            </a:lvl3pPr>
            <a:lvl4pPr>
              <a:lnSpc>
                <a:spcPct val="90000"/>
              </a:lnSpc>
              <a:spcBef>
                <a:spcPts val="0"/>
              </a:spcBef>
              <a:defRPr/>
            </a:lvl4pPr>
            <a:lvl5pPr>
              <a:lnSpc>
                <a:spcPct val="9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roject name"/>
          <p:cNvSpPr>
            <a:spLocks noGrp="1"/>
          </p:cNvSpPr>
          <p:nvPr>
            <p:ph type="title"/>
          </p:nvPr>
        </p:nvSpPr>
        <p:spPr>
          <a:xfrm>
            <a:off x="994849" y="2008162"/>
            <a:ext cx="5305343" cy="496800"/>
          </a:xfrm>
        </p:spPr>
        <p:txBody>
          <a:bodyPr anchor="t">
            <a:noAutofit/>
          </a:bodyPr>
          <a:lstStyle>
            <a:lvl1pPr>
              <a:defRPr sz="1725" b="1" baseline="0">
                <a:latin typeface="+mj-lt"/>
                <a:sym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9"/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8C89B9BE-C220-4F7E-8F02-1A304894512C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20"/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498753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2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2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4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6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7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813361A4-9AF3-48DA-9FEE-D429350EDD6A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8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9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0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1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2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3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4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5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6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7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AA7F8438-D7AA-4CAA-85FF-7DD92D4BC0BB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0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428607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46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3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5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7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8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6C52BAD0-91EC-432C-92DF-EA1A4310F343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9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0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1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2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3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4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5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6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7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8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tabLst>
                <a:tab pos="939404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fr-FR" dirty="0"/>
          </a:p>
        </p:txBody>
      </p:sp>
      <p:sp>
        <p:nvSpPr>
          <p:cNvPr id="30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11BA5338-1950-45C9-8135-92AD83C51A47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1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718711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70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5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7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9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10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81F6CBFD-3B9F-48FB-AC2A-0F72D411D527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1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2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3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4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5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6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7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8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9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20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81231" y="1282500"/>
            <a:ext cx="7879374" cy="962571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defRPr>
                <a:latin typeface="+mj-lt"/>
                <a:sym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fr-FR" dirty="0"/>
          </a:p>
        </p:txBody>
      </p:sp>
      <p:sp>
        <p:nvSpPr>
          <p:cNvPr id="32" name="Slide Number Placeholder" hidden="1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0DC2D2E6-5898-4252-BA0A-5D15011D0993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3" name="Footer Placeholder" hidden="1"/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648919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98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3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5" name="Image 2" descr="frise.png"/>
          <p:cNvPicPr>
            <a:picLocks noChangeAspect="1"/>
          </p:cNvPicPr>
          <p:nvPr/>
        </p:nvPicPr>
        <p:blipFill>
          <a:blip r:embed="rId12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7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8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E0653E29-BB97-452D-B39B-09521C4C2FA4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9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0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1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2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3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4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5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6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7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8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0" name="Objec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99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3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7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>
              <a:solidFill>
                <a:srgbClr val="000000"/>
              </a:solidFill>
            </a:endParaRPr>
          </a:p>
        </p:txBody>
      </p:sp>
      <p:sp>
        <p:nvSpPr>
          <p:cNvPr id="32" name="Rectangle à coins arrondis 13"/>
          <p:cNvSpPr>
            <a:spLocks noChangeArrowheads="1"/>
          </p:cNvSpPr>
          <p:nvPr userDrawn="1"/>
        </p:nvSpPr>
        <p:spPr bwMode="auto">
          <a:xfrm>
            <a:off x="0" y="342900"/>
            <a:ext cx="3043604" cy="4800600"/>
          </a:xfrm>
          <a:prstGeom prst="roundRect">
            <a:avLst>
              <a:gd name="adj" fmla="val 33130"/>
            </a:avLst>
          </a:prstGeom>
          <a:solidFill>
            <a:schemeClr val="accent1"/>
          </a:solidFill>
          <a:ln>
            <a:noFill/>
          </a:ln>
          <a:extLst/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 smtClean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pic>
        <p:nvPicPr>
          <p:cNvPr id="33" name="Image 14" descr="trame-dégradé2-ppt.png"/>
          <p:cNvPicPr>
            <a:picLocks noChangeAspect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2602523" y="2000250"/>
            <a:ext cx="339969" cy="127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Rectangle 7"/>
          <p:cNvSpPr>
            <a:spLocks noChangeArrowheads="1"/>
          </p:cNvSpPr>
          <p:nvPr userDrawn="1"/>
        </p:nvSpPr>
        <p:spPr bwMode="auto">
          <a:xfrm>
            <a:off x="0" y="342900"/>
            <a:ext cx="1863969" cy="48006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 smtClean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grpSp>
        <p:nvGrpSpPr>
          <p:cNvPr id="35" name="Position Lines"/>
          <p:cNvGrpSpPr>
            <a:grpSpLocks/>
          </p:cNvGrpSpPr>
          <p:nvPr userDrawn="1"/>
        </p:nvGrpSpPr>
        <p:grpSpPr bwMode="auto">
          <a:xfrm>
            <a:off x="332643" y="5164931"/>
            <a:ext cx="3159369" cy="53579"/>
            <a:chOff x="360000" y="6886575"/>
            <a:chExt cx="3423600" cy="72000"/>
          </a:xfrm>
        </p:grpSpPr>
        <p:sp>
          <p:nvSpPr>
            <p:cNvPr id="36" name="Line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360000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7" name="Line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890372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8" name="Line"/>
            <p:cNvSpPr>
              <a:spLocks noChangeShapeType="1"/>
            </p:cNvSpPr>
            <p:nvPr userDrawn="1">
              <p:custDataLst>
                <p:tags r:id="rId6"/>
              </p:custDataLst>
            </p:nvPr>
          </p:nvSpPr>
          <p:spPr bwMode="auto">
            <a:xfrm>
              <a:off x="1174613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9" name="Line"/>
            <p:cNvSpPr>
              <a:spLocks noChangeShapeType="1"/>
            </p:cNvSpPr>
            <p:nvPr userDrawn="1">
              <p:custDataLst>
                <p:tags r:id="rId7"/>
              </p:custDataLst>
            </p:nvPr>
          </p:nvSpPr>
          <p:spPr bwMode="auto">
            <a:xfrm>
              <a:off x="3504122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40" name="Line"/>
            <p:cNvSpPr>
              <a:spLocks noChangeShapeType="1"/>
            </p:cNvSpPr>
            <p:nvPr userDrawn="1">
              <p:custDataLst>
                <p:tags r:id="rId8"/>
              </p:custDataLst>
            </p:nvPr>
          </p:nvSpPr>
          <p:spPr bwMode="auto">
            <a:xfrm>
              <a:off x="3783600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</p:grpSp>
      <p:pic>
        <p:nvPicPr>
          <p:cNvPr id="41" name="Picture 238" descr="D:\Users\bertrand_ballarin\AppData\Local\Microsoft\Windows\Temporary Internet Files\Content.Outlook\E047WPI2\bloc-marque-sgmap.jpg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8176846" y="4085035"/>
            <a:ext cx="967154" cy="1058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176153" y="2512118"/>
            <a:ext cx="5251045" cy="238912"/>
          </a:xfrm>
        </p:spPr>
        <p:txBody>
          <a:bodyPr anchor="b">
            <a:spAutoFit/>
          </a:bodyPr>
          <a:lstStyle>
            <a:lvl1pPr marL="396479" indent="-396479" algn="l">
              <a:tabLst>
                <a:tab pos="609600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42" name="Slide Number Placeholder" hidden="1"/>
          <p:cNvSpPr>
            <a:spLocks noGrp="1"/>
          </p:cNvSpPr>
          <p:nvPr>
            <p:ph type="sldNum" sz="quarter" idx="10"/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31CDAC3B-0055-4618-B36B-8F27FE91D25C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43" name="Footer Placeholder" hidden="1"/>
          <p:cNvSpPr>
            <a:spLocks noGrp="1"/>
          </p:cNvSpPr>
          <p:nvPr>
            <p:ph type="ftr" sz="quarter" idx="11"/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49530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>
              <a:solidFill>
                <a:srgbClr val="000000"/>
              </a:solidFill>
            </a:endParaRPr>
          </a:p>
        </p:txBody>
      </p:sp>
      <p:sp>
        <p:nvSpPr>
          <p:cNvPr id="7" name="Rectangle à coins arrondis 10"/>
          <p:cNvSpPr>
            <a:spLocks noChangeArrowheads="1"/>
          </p:cNvSpPr>
          <p:nvPr userDrawn="1"/>
        </p:nvSpPr>
        <p:spPr bwMode="auto">
          <a:xfrm>
            <a:off x="243254" y="627460"/>
            <a:ext cx="6254262" cy="4516040"/>
          </a:xfrm>
          <a:prstGeom prst="roundRect">
            <a:avLst>
              <a:gd name="adj" fmla="val 18106"/>
            </a:avLst>
          </a:prstGeom>
          <a:solidFill>
            <a:schemeClr val="accent1"/>
          </a:solidFill>
          <a:ln>
            <a:noFill/>
          </a:ln>
          <a:extLst/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 smtClean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8" name="Rectangle 44"/>
          <p:cNvSpPr>
            <a:spLocks noChangeArrowheads="1"/>
          </p:cNvSpPr>
          <p:nvPr userDrawn="1"/>
        </p:nvSpPr>
        <p:spPr bwMode="auto">
          <a:xfrm>
            <a:off x="0" y="627460"/>
            <a:ext cx="1863969" cy="451604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 smtClean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9" name="Position Lines"/>
          <p:cNvSpPr>
            <a:spLocks noChangeShapeType="1"/>
          </p:cNvSpPr>
          <p:nvPr/>
        </p:nvSpPr>
        <p:spPr bwMode="auto">
          <a:xfrm>
            <a:off x="332643" y="5164931"/>
            <a:ext cx="0" cy="53579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 sz="1350"/>
          </a:p>
        </p:txBody>
      </p:sp>
      <p:pic>
        <p:nvPicPr>
          <p:cNvPr id="11" name="Picture 238" descr="D:\Users\bertrand_ballarin\AppData\Local\Microsoft\Windows\Temporary Internet Files\Content.Outlook\E047WPI2\bloc-marque-sgmap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176846" y="4085035"/>
            <a:ext cx="967154" cy="1058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ype of document"/>
          <p:cNvSpPr>
            <a:spLocks noGrp="1"/>
          </p:cNvSpPr>
          <p:nvPr>
            <p:ph type="body" sz="quarter" idx="18"/>
          </p:nvPr>
        </p:nvSpPr>
        <p:spPr>
          <a:xfrm>
            <a:off x="976792" y="4029912"/>
            <a:ext cx="5305343" cy="225382"/>
          </a:xfrm>
        </p:spPr>
        <p:txBody>
          <a:bodyPr anchor="ctr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350">
                <a:solidFill>
                  <a:schemeClr val="tx2"/>
                </a:solidFill>
                <a:latin typeface="+mn-lt"/>
                <a:sym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defRPr/>
            </a:lvl2pPr>
            <a:lvl3pPr>
              <a:lnSpc>
                <a:spcPct val="90000"/>
              </a:lnSpc>
              <a:spcBef>
                <a:spcPts val="0"/>
              </a:spcBef>
              <a:defRPr/>
            </a:lvl3pPr>
            <a:lvl4pPr>
              <a:lnSpc>
                <a:spcPct val="90000"/>
              </a:lnSpc>
              <a:spcBef>
                <a:spcPts val="0"/>
              </a:spcBef>
              <a:defRPr/>
            </a:lvl4pPr>
            <a:lvl5pPr>
              <a:lnSpc>
                <a:spcPct val="9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roject name"/>
          <p:cNvSpPr>
            <a:spLocks noGrp="1"/>
          </p:cNvSpPr>
          <p:nvPr>
            <p:ph type="title"/>
          </p:nvPr>
        </p:nvSpPr>
        <p:spPr>
          <a:xfrm>
            <a:off x="994849" y="2008162"/>
            <a:ext cx="5305343" cy="496800"/>
          </a:xfrm>
        </p:spPr>
        <p:txBody>
          <a:bodyPr anchor="t">
            <a:noAutofit/>
          </a:bodyPr>
          <a:lstStyle>
            <a:lvl1pPr>
              <a:defRPr sz="1725" b="1" baseline="0">
                <a:latin typeface="+mj-lt"/>
                <a:sym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9"/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2B491F7C-840C-4470-8407-EAC3C1850E53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20"/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6003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4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2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4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6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7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6AB8E25A-F719-4E00-A466-E16ADEB4E74C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8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9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0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1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2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3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4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5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6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7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822E6905-FDF5-4A66-BD4E-3CE5BE53891B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0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36721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00000"/>
            <a:ext cx="8424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 algn="r"/>
            <a:fld id="{538FB4BF-FE6A-46F8-93D4-A3297CB67665}" type="datetime1">
              <a:rPr lang="fr-FR" cap="all" smtClean="0"/>
              <a:t>08/11/2023</a:t>
            </a:fld>
            <a:endParaRPr lang="fr-FR" cap="all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 smtClean="0"/>
              <a:t>DRH/SD/FORCQ2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9998" y="1891968"/>
            <a:ext cx="2520000" cy="253080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1893600"/>
            <a:ext cx="2520000" cy="253080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1893600"/>
            <a:ext cx="2520000" cy="253080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6410304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4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66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4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6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8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9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7EE5BB78-60AD-4392-8E3A-DC13BF86377B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0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1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2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3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4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5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6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7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8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9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tabLst>
                <a:tab pos="939404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fr-FR" dirty="0"/>
          </a:p>
        </p:txBody>
      </p:sp>
      <p:sp>
        <p:nvSpPr>
          <p:cNvPr id="31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623562B4-D54E-4F7E-A89F-5ADB327620C4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2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145361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6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90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8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10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11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62B9A147-1558-4B52-AF74-21222CFC7158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2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3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4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5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6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7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8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9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20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21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81231" y="1282500"/>
            <a:ext cx="7879374" cy="962571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defRPr>
                <a:latin typeface="+mj-lt"/>
                <a:sym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fr-FR" dirty="0"/>
          </a:p>
        </p:txBody>
      </p:sp>
      <p:sp>
        <p:nvSpPr>
          <p:cNvPr id="33" name="Slide Number Placeholder" hidden="1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7FFBED59-628A-4034-9B19-9DC0A035F280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4" name="Footer Placeholder" hidden="1"/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4811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738000"/>
            <a:ext cx="9144000" cy="4406400"/>
          </a:xfrm>
          <a:solidFill>
            <a:schemeClr val="bg1">
              <a:lumMod val="85000"/>
            </a:schemeClr>
          </a:solidFill>
        </p:spPr>
        <p:txBody>
          <a:bodyPr tIns="1080000" anchor="ctr" anchorCtr="0"/>
          <a:lstStyle>
            <a:lvl1pPr algn="ctr">
              <a:defRPr cap="all" baseline="0"/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738000"/>
            <a:ext cx="8424000" cy="40464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60000" anchor="ctr" anchorCtr="0"/>
          <a:lstStyle>
            <a:lvl1pPr marL="396000" indent="-396000">
              <a:buFont typeface="+mj-lt"/>
              <a:buAutoNum type="arabicPeriod"/>
              <a:defRPr sz="3250"/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 algn="r"/>
            <a:fld id="{E0EE1044-D585-4E83-A84C-CFDCADB59B97}" type="datetime1">
              <a:rPr lang="fr-FR" cap="all" smtClean="0"/>
              <a:t>08/11/2023</a:t>
            </a:fld>
            <a:endParaRPr lang="fr-FR" cap="all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 smtClean="0"/>
              <a:t>DRH/SD/FORCQ2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085968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s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00000"/>
            <a:ext cx="8424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 algn="r"/>
            <a:fld id="{BDDF77DC-2A1E-4256-9466-B433610C0329}" type="datetime1">
              <a:rPr lang="fr-FR" cap="all" smtClean="0"/>
              <a:t>08/11/2023</a:t>
            </a:fld>
            <a:endParaRPr lang="fr-FR" cap="all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 smtClean="0"/>
              <a:t>DRH/SD/FORCQ2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12000" y="180000"/>
            <a:ext cx="5472000" cy="360000"/>
          </a:xfrm>
        </p:spPr>
        <p:txBody>
          <a:bodyPr/>
          <a:lstStyle>
            <a:lvl1pPr marL="108000" indent="-108000" algn="r">
              <a:spcAft>
                <a:spcPts val="0"/>
              </a:spcAft>
              <a:buFont typeface="+mj-lt"/>
              <a:buAutoNum type="arabicPeriod"/>
              <a:defRPr sz="750" b="1"/>
            </a:lvl1pPr>
            <a:lvl2pPr marL="108000" indent="-108000" algn="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750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9999" y="1836000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12000" y="1836000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64000" y="1836000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38404549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FF0A5-4176-4E93-977D-E08B3C2ECD77}" type="datetime1">
              <a:rPr lang="fr-FR" smtClean="0"/>
              <a:t>08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DRH/SD/FORCQ2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087774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4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8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4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6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8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9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7EE5BB78-60AD-4392-8E3A-DC13BF86377B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0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1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2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3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4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5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6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7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8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9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tabLst>
                <a:tab pos="939404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fr-FR" dirty="0"/>
          </a:p>
        </p:txBody>
      </p:sp>
      <p:sp>
        <p:nvSpPr>
          <p:cNvPr id="31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623562B4-D54E-4F7E-A89F-5ADB327620C4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2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56020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6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8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10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11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62B9A147-1558-4B52-AF74-21222CFC7158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2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3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4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5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6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7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8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9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20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21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81231" y="1282500"/>
            <a:ext cx="7879374" cy="962571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defRPr>
                <a:latin typeface="+mj-lt"/>
                <a:sym typeface="+mn-lt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fr-FR" dirty="0"/>
          </a:p>
        </p:txBody>
      </p:sp>
      <p:sp>
        <p:nvSpPr>
          <p:cNvPr id="33" name="Slide Number Placeholder" hidden="1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7FFBED59-628A-4034-9B19-9DC0A035F280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4" name="Footer Placeholder" hidden="1"/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01849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4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02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4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6" name="Image 2" descr="frise.png"/>
          <p:cNvPicPr>
            <a:picLocks noChangeAspect="1"/>
          </p:cNvPicPr>
          <p:nvPr/>
        </p:nvPicPr>
        <p:blipFill>
          <a:blip r:embed="rId12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8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9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E3E23A2E-C4C9-41AE-8279-4949181DB6BB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0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1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2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3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4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5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6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7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8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9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1" name="Objec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03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31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7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sp>
        <p:nvSpPr>
          <p:cNvPr id="33" name="Rectangle à coins arrondis 13"/>
          <p:cNvSpPr>
            <a:spLocks noChangeArrowheads="1"/>
          </p:cNvSpPr>
          <p:nvPr userDrawn="1"/>
        </p:nvSpPr>
        <p:spPr bwMode="auto">
          <a:xfrm>
            <a:off x="0" y="342900"/>
            <a:ext cx="3043604" cy="4800600"/>
          </a:xfrm>
          <a:prstGeom prst="roundRect">
            <a:avLst>
              <a:gd name="adj" fmla="val 33130"/>
            </a:avLst>
          </a:prstGeom>
          <a:solidFill>
            <a:schemeClr val="accent1"/>
          </a:solidFill>
          <a:ln>
            <a:noFill/>
          </a:ln>
          <a:extLst/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 smtClean="0">
              <a:ea typeface="ヒラギノ角ゴ Pro W3"/>
              <a:cs typeface="ヒラギノ角ゴ Pro W3"/>
            </a:endParaRPr>
          </a:p>
        </p:txBody>
      </p:sp>
      <p:pic>
        <p:nvPicPr>
          <p:cNvPr id="34" name="Image 14" descr="trame-dégradé2-ppt.png"/>
          <p:cNvPicPr>
            <a:picLocks noChangeAspect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2602523" y="2000250"/>
            <a:ext cx="339969" cy="127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Rectangle 7"/>
          <p:cNvSpPr>
            <a:spLocks noChangeArrowheads="1"/>
          </p:cNvSpPr>
          <p:nvPr userDrawn="1"/>
        </p:nvSpPr>
        <p:spPr bwMode="auto">
          <a:xfrm>
            <a:off x="0" y="342900"/>
            <a:ext cx="1863969" cy="48006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 smtClean="0">
              <a:ea typeface="ヒラギノ角ゴ Pro W3"/>
              <a:cs typeface="ヒラギノ角ゴ Pro W3"/>
            </a:endParaRPr>
          </a:p>
        </p:txBody>
      </p:sp>
      <p:grpSp>
        <p:nvGrpSpPr>
          <p:cNvPr id="36" name="Position Lines"/>
          <p:cNvGrpSpPr>
            <a:grpSpLocks/>
          </p:cNvGrpSpPr>
          <p:nvPr userDrawn="1"/>
        </p:nvGrpSpPr>
        <p:grpSpPr bwMode="auto">
          <a:xfrm>
            <a:off x="332643" y="5164931"/>
            <a:ext cx="3159369" cy="53579"/>
            <a:chOff x="360000" y="6886575"/>
            <a:chExt cx="3423600" cy="72000"/>
          </a:xfrm>
        </p:grpSpPr>
        <p:sp>
          <p:nvSpPr>
            <p:cNvPr id="37" name="Line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360000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8" name="Line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890372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9" name="Line"/>
            <p:cNvSpPr>
              <a:spLocks noChangeShapeType="1"/>
            </p:cNvSpPr>
            <p:nvPr userDrawn="1">
              <p:custDataLst>
                <p:tags r:id="rId6"/>
              </p:custDataLst>
            </p:nvPr>
          </p:nvSpPr>
          <p:spPr bwMode="auto">
            <a:xfrm>
              <a:off x="1174613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40" name="Line"/>
            <p:cNvSpPr>
              <a:spLocks noChangeShapeType="1"/>
            </p:cNvSpPr>
            <p:nvPr userDrawn="1">
              <p:custDataLst>
                <p:tags r:id="rId7"/>
              </p:custDataLst>
            </p:nvPr>
          </p:nvSpPr>
          <p:spPr bwMode="auto">
            <a:xfrm>
              <a:off x="3504122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41" name="Line"/>
            <p:cNvSpPr>
              <a:spLocks noChangeShapeType="1"/>
            </p:cNvSpPr>
            <p:nvPr userDrawn="1">
              <p:custDataLst>
                <p:tags r:id="rId8"/>
              </p:custDataLst>
            </p:nvPr>
          </p:nvSpPr>
          <p:spPr bwMode="auto">
            <a:xfrm>
              <a:off x="3783600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</p:grpSp>
      <p:pic>
        <p:nvPicPr>
          <p:cNvPr id="42" name="Picture 238" descr="D:\Users\bertrand_ballarin\AppData\Local\Microsoft\Windows\Temporary Internet Files\Content.Outlook\E047WPI2\bloc-marque-sgmap.jpg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8176846" y="4085035"/>
            <a:ext cx="967154" cy="1058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176153" y="2512118"/>
            <a:ext cx="5251045" cy="238912"/>
          </a:xfrm>
        </p:spPr>
        <p:txBody>
          <a:bodyPr anchor="b">
            <a:spAutoFit/>
          </a:bodyPr>
          <a:lstStyle>
            <a:lvl1pPr marL="396479" indent="-396479" algn="l">
              <a:tabLst>
                <a:tab pos="609600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43" name="Slide Number Placeholder" hidden="1"/>
          <p:cNvSpPr>
            <a:spLocks noGrp="1"/>
          </p:cNvSpPr>
          <p:nvPr>
            <p:ph type="sldNum" sz="quarter" idx="10"/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C7D41AD8-83A0-4D8E-ACEE-8D1A36D4133F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44" name="Footer Placeholder" hidden="1"/>
          <p:cNvSpPr>
            <a:spLocks noGrp="1"/>
          </p:cNvSpPr>
          <p:nvPr>
            <p:ph type="ftr" sz="quarter" idx="11"/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r>
              <a:rPr lang="fr-FR" smtClean="0"/>
              <a:t>DRH/SD/FORCQ2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04178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359999" y="900000"/>
            <a:ext cx="8424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59999" y="1836000"/>
            <a:ext cx="8424000" cy="257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50" b="1">
                <a:solidFill>
                  <a:schemeClr val="tx1"/>
                </a:solidFill>
              </a:defRPr>
            </a:lvl1pPr>
          </a:lstStyle>
          <a:p>
            <a:pPr algn="r"/>
            <a:fld id="{B99FB62C-2CF0-4612-AC61-84E5C0A6A6D5}" type="datetime1">
              <a:rPr lang="fr-FR" cap="all" smtClean="0"/>
              <a:t>08/11/2023</a:t>
            </a:fld>
            <a:endParaRPr lang="fr-FR" cap="all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360000" y="4783500"/>
            <a:ext cx="5904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DRH/SD/FORCQ2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6264000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0" name="Connecteur droit 9"/>
          <p:cNvCxnSpPr/>
          <p:nvPr userDrawn="1"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64096" cy="86409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12" r:id="rId2"/>
    <p:sldLayoutId id="2147483810" r:id="rId3"/>
    <p:sldLayoutId id="2147483811" r:id="rId4"/>
    <p:sldLayoutId id="2147483809" r:id="rId5"/>
    <p:sldLayoutId id="2147483816" r:id="rId6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5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05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72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itchFamily="34" charset="0"/>
        <a:buChar char="•"/>
        <a:defRPr sz="95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850" kern="1200">
          <a:solidFill>
            <a:schemeClr val="tx1"/>
          </a:solidFill>
          <a:latin typeface="+mn-lt"/>
          <a:ea typeface="+mn-ea"/>
          <a:cs typeface="+mn-cs"/>
        </a:defRPr>
      </a:lvl3pPr>
      <a:lvl4pPr marL="612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4pPr>
      <a:lvl5pPr marL="828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14338" name="!!!Do not delete this th-style object!!!!" hidden="1"/>
          <p:cNvGraphicFramePr>
            <a:graphicFrameLocks noChangeAspect="1"/>
          </p:cNvGraphicFramePr>
          <p:nvPr>
            <p:custDataLst>
              <p:tags r:id="rId28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4" name="think-cell Slide" r:id="rId29" imgW="216" imgH="216" progId="TCLayout.ActiveDocument.1">
                  <p:embed/>
                </p:oleObj>
              </mc:Choice>
              <mc:Fallback>
                <p:oleObj name="think-cell Slide" r:id="rId29" imgW="216" imgH="216" progId="TCLayout.ActiveDocument.1">
                  <p:embed/>
                  <p:pic>
                    <p:nvPicPr>
                      <p:cNvPr id="14338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14342" name="Image 2" descr="frise.png"/>
          <p:cNvPicPr>
            <a:picLocks noChangeAspect="1"/>
          </p:cNvPicPr>
          <p:nvPr/>
        </p:nvPicPr>
        <p:blipFill>
          <a:blip r:embed="rId31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43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 smtClean="0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52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94A58480-CFDD-4FFA-9424-045014C810FF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 smtClean="0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2057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2058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 smtClean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2059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 smtClean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4349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49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2079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 smtClean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2061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 smtClean="0">
                <a:latin typeface="Arial" pitchFamily="34" charset="0"/>
                <a:sym typeface="+mn-lt"/>
              </a:rPr>
              <a:t>15 Point Text: Level 0</a:t>
            </a:r>
            <a:endParaRPr lang="fr-FR" altLang="en-US" sz="1125" b="0" smtClean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 smtClean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2062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 smtClean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sp>
        <p:nvSpPr>
          <p:cNvPr id="14352" name="Text Placeholder"/>
          <p:cNvSpPr>
            <a:spLocks noGrp="1"/>
          </p:cNvSpPr>
          <p:nvPr>
            <p:ph type="body" idx="1"/>
          </p:nvPr>
        </p:nvSpPr>
        <p:spPr bwMode="auto">
          <a:xfrm>
            <a:off x="681405" y="1282304"/>
            <a:ext cx="7879373" cy="963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en-US" smtClean="0">
                <a:sym typeface="+mn-lt"/>
              </a:rPr>
              <a:t>Click to edit Master text styles – Level 0</a:t>
            </a:r>
          </a:p>
          <a:p>
            <a:pPr lvl="1"/>
            <a:r>
              <a:rPr lang="fr-FR" altLang="en-US" smtClean="0">
                <a:sym typeface="+mn-lt"/>
              </a:rPr>
              <a:t>Level 1</a:t>
            </a:r>
          </a:p>
          <a:p>
            <a:pPr lvl="2"/>
            <a:r>
              <a:rPr lang="fr-FR" altLang="en-US" smtClean="0">
                <a:sym typeface="+mn-lt"/>
              </a:rPr>
              <a:t>Level 2</a:t>
            </a:r>
          </a:p>
          <a:p>
            <a:pPr lvl="3"/>
            <a:r>
              <a:rPr lang="fr-FR" altLang="en-US" smtClean="0">
                <a:sym typeface="+mn-lt"/>
              </a:rPr>
              <a:t>Level 3</a:t>
            </a:r>
          </a:p>
        </p:txBody>
      </p:sp>
      <p:sp>
        <p:nvSpPr>
          <p:cNvPr id="14353" name="Title Placeholder"/>
          <p:cNvSpPr>
            <a:spLocks noGrp="1"/>
          </p:cNvSpPr>
          <p:nvPr>
            <p:ph type="title"/>
          </p:nvPr>
        </p:nvSpPr>
        <p:spPr bwMode="auto">
          <a:xfrm>
            <a:off x="681405" y="286941"/>
            <a:ext cx="7879373" cy="451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>
                <a:sym typeface="+mn-lt"/>
              </a:rPr>
              <a:t>Click to edit Master title style</a:t>
            </a:r>
          </a:p>
        </p:txBody>
      </p:sp>
      <p:grpSp>
        <p:nvGrpSpPr>
          <p:cNvPr id="14354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27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06901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3" r:id="rId16"/>
    <p:sldLayoutId id="2147483834" r:id="rId17"/>
    <p:sldLayoutId id="2147483835" r:id="rId18"/>
    <p:sldLayoutId id="2147483836" r:id="rId19"/>
    <p:sldLayoutId id="2147483837" r:id="rId20"/>
    <p:sldLayoutId id="2147483838" r:id="rId21"/>
    <p:sldLayoutId id="2147483839" r:id="rId22"/>
    <p:sldLayoutId id="2147483840" r:id="rId23"/>
    <p:sldLayoutId id="2147483841" r:id="rId24"/>
    <p:sldLayoutId id="2147483842" r:id="rId25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tabLst>
          <a:tab pos="939404" algn="l"/>
        </a:tabLst>
        <a:defRPr lang="fr-FR" sz="1725" kern="1200" dirty="0">
          <a:solidFill>
            <a:srgbClr val="002060"/>
          </a:solidFill>
          <a:latin typeface="+mj-lt"/>
          <a:ea typeface="+mj-ea"/>
          <a:cs typeface="+mj-cs"/>
          <a:sym typeface="+mn-lt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tabLst>
          <a:tab pos="939404" algn="l"/>
        </a:tabLst>
        <a:defRPr sz="1725">
          <a:solidFill>
            <a:srgbClr val="002060"/>
          </a:solidFill>
          <a:latin typeface="Arial" pitchFamily="34" charset="0"/>
          <a:sym typeface="+mn-lt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tabLst>
          <a:tab pos="939404" algn="l"/>
        </a:tabLst>
        <a:defRPr sz="1725">
          <a:solidFill>
            <a:srgbClr val="002060"/>
          </a:solidFill>
          <a:latin typeface="Arial" pitchFamily="34" charset="0"/>
          <a:sym typeface="+mn-lt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tabLst>
          <a:tab pos="939404" algn="l"/>
        </a:tabLst>
        <a:defRPr sz="1725">
          <a:solidFill>
            <a:srgbClr val="002060"/>
          </a:solidFill>
          <a:latin typeface="Arial" pitchFamily="34" charset="0"/>
          <a:sym typeface="+mn-lt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tabLst>
          <a:tab pos="939404" algn="l"/>
        </a:tabLst>
        <a:defRPr sz="1725">
          <a:solidFill>
            <a:srgbClr val="002060"/>
          </a:solidFill>
          <a:latin typeface="Arial" pitchFamily="34" charset="0"/>
          <a:sym typeface="+mn-lt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tabLst>
          <a:tab pos="939404" algn="l"/>
        </a:tabLst>
        <a:defRPr sz="1725">
          <a:solidFill>
            <a:srgbClr val="002060"/>
          </a:solidFill>
          <a:latin typeface="Arial" pitchFamily="34" charset="0"/>
          <a:sym typeface="+mn-lt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tabLst>
          <a:tab pos="939404" algn="l"/>
        </a:tabLst>
        <a:defRPr sz="1725">
          <a:solidFill>
            <a:srgbClr val="002060"/>
          </a:solidFill>
          <a:latin typeface="Arial" pitchFamily="34" charset="0"/>
          <a:sym typeface="+mn-lt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tabLst>
          <a:tab pos="939404" algn="l"/>
        </a:tabLst>
        <a:defRPr sz="1725">
          <a:solidFill>
            <a:srgbClr val="002060"/>
          </a:solidFill>
          <a:latin typeface="Arial" pitchFamily="34" charset="0"/>
          <a:sym typeface="+mn-lt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tabLst>
          <a:tab pos="939404" algn="l"/>
        </a:tabLst>
        <a:defRPr sz="1725">
          <a:solidFill>
            <a:srgbClr val="002060"/>
          </a:solidFill>
          <a:latin typeface="Arial" pitchFamily="34" charset="0"/>
          <a:sym typeface="+mn-lt"/>
        </a:defRPr>
      </a:lvl9pPr>
    </p:titleStyle>
    <p:body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Font typeface="Arial Narrow" pitchFamily="34" charset="0"/>
        <a:defRPr lang="en-US" sz="1425" b="1" kern="1200" dirty="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72641" indent="-172641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rgbClr val="808080"/>
        </a:buClr>
        <a:buFont typeface="Wingdings" pitchFamily="2" charset="2"/>
        <a:buChar char="§"/>
        <a:defRPr lang="en-US" sz="1425" kern="1200" dirty="0">
          <a:solidFill>
            <a:srgbClr val="808080"/>
          </a:solidFill>
          <a:latin typeface="+mn-lt"/>
          <a:ea typeface="+mn-ea"/>
          <a:cs typeface="+mn-cs"/>
          <a:sym typeface="+mn-lt"/>
        </a:defRPr>
      </a:lvl2pPr>
      <a:lvl3pPr marL="360760" indent="-175022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Font typeface="Arial Narrow" pitchFamily="34" charset="0"/>
        <a:buChar char="–"/>
        <a:defRPr lang="en-US" sz="1425" kern="1200" dirty="0">
          <a:solidFill>
            <a:srgbClr val="808080"/>
          </a:solidFill>
          <a:latin typeface="+mn-lt"/>
          <a:ea typeface="+mn-ea"/>
          <a:cs typeface="+mn-cs"/>
          <a:sym typeface="+mn-lt"/>
        </a:defRPr>
      </a:lvl3pPr>
      <a:lvl4pPr marL="522685" indent="-150019" algn="l" rtl="0" eaLnBrk="0" fontAlgn="base" hangingPunct="0">
        <a:lnSpc>
          <a:spcPct val="90000"/>
        </a:lnSpc>
        <a:spcBef>
          <a:spcPts val="150"/>
        </a:spcBef>
        <a:spcAft>
          <a:spcPct val="0"/>
        </a:spcAft>
        <a:buFont typeface="Arial Narrow" pitchFamily="34" charset="0"/>
        <a:buChar char="-"/>
        <a:defRPr lang="en-US" sz="1425" kern="1200" dirty="0">
          <a:solidFill>
            <a:srgbClr val="808080"/>
          </a:solidFill>
          <a:latin typeface="+mn-lt"/>
          <a:ea typeface="+mn-ea"/>
          <a:cs typeface="+mn-cs"/>
          <a:sym typeface="+mn-lt"/>
        </a:defRPr>
      </a:lvl4pPr>
      <a:lvl5pPr marL="522685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 Narrow" pitchFamily="34" charset="0"/>
        <a:defRPr sz="1275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 Narrow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 Narrow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 Narrow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 Narrow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diagramLayout" Target="../diagrams/layout8.xml"/><Relationship Id="rId7" Type="http://schemas.openxmlformats.org/officeDocument/2006/relationships/image" Target="../media/image10.pn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1403648" y="1402883"/>
            <a:ext cx="6696744" cy="1923504"/>
          </a:xfrm>
        </p:spPr>
        <p:txBody>
          <a:bodyPr/>
          <a:lstStyle/>
          <a:p>
            <a:pPr algn="r"/>
            <a:r>
              <a:rPr lang="fr-FR" sz="24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FORMATION</a:t>
            </a:r>
          </a:p>
          <a:p>
            <a:pPr algn="r"/>
            <a:endParaRPr lang="fr-FR" sz="2400" dirty="0" smtClean="0">
              <a:solidFill>
                <a:schemeClr val="accent1">
                  <a:lumMod val="90000"/>
                  <a:lumOff val="10000"/>
                </a:schemeClr>
              </a:solidFill>
            </a:endParaRPr>
          </a:p>
          <a:p>
            <a:pPr algn="just"/>
            <a:r>
              <a:rPr lang="fr-FR" sz="24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RéNOVATION</a:t>
            </a:r>
            <a:r>
              <a:rPr lang="fr-FR" sz="24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 </a:t>
            </a:r>
            <a:r>
              <a:rPr lang="fr-FR" sz="24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éNERGéTIQUE</a:t>
            </a:r>
            <a:r>
              <a:rPr lang="fr-FR" sz="2400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 D’UN PARC IMMOBILIER PUBLIC : COMPRENDRE LES ENJEUX ET PORTER UNE </a:t>
            </a:r>
            <a:r>
              <a:rPr lang="fr-FR" sz="2400" dirty="0" err="1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STRATéGIE</a:t>
            </a:r>
            <a:endParaRPr lang="fr-FR" sz="2400" dirty="0" smtClean="0">
              <a:solidFill>
                <a:schemeClr val="accent1">
                  <a:lumMod val="90000"/>
                  <a:lumOff val="10000"/>
                </a:schemeClr>
              </a:solidFill>
            </a:endParaRPr>
          </a:p>
          <a:p>
            <a:pPr algn="r"/>
            <a:endParaRPr lang="fr-FR" sz="2400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  <a:p>
            <a:pPr algn="r"/>
            <a:r>
              <a:rPr lang="fr-FR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09 novembre 2023</a:t>
            </a:r>
            <a:endParaRPr lang="fr-FR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7164288" y="4783500"/>
            <a:ext cx="1619712" cy="360000"/>
          </a:xfrm>
        </p:spPr>
        <p:txBody>
          <a:bodyPr/>
          <a:lstStyle/>
          <a:p>
            <a:pPr algn="r"/>
            <a:fld id="{0AF61380-F952-4EF9-B4EA-25FEC71A8CC8}" type="datetime1">
              <a:rPr lang="fr-FR" cap="all" smtClean="0"/>
              <a:t>08/11/2023</a:t>
            </a:fld>
            <a:endParaRPr lang="fr-FR" cap="all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220" y="4252233"/>
            <a:ext cx="2167555" cy="462232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911" y="3919689"/>
            <a:ext cx="1124172" cy="344637"/>
          </a:xfrm>
          <a:prstGeom prst="rect">
            <a:avLst/>
          </a:prstGeom>
        </p:spPr>
      </p:pic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</a:t>
            </a:fld>
            <a:endParaRPr lang="fr-FR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50" y="14805"/>
            <a:ext cx="1923552" cy="1923552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52" y="3818866"/>
            <a:ext cx="1350488" cy="964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37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me 8"/>
          <p:cNvGraphicFramePr/>
          <p:nvPr>
            <p:extLst>
              <p:ext uri="{D42A27DB-BD31-4B8C-83A1-F6EECF244321}">
                <p14:modId xmlns:p14="http://schemas.microsoft.com/office/powerpoint/2010/main" val="125811852"/>
              </p:ext>
            </p:extLst>
          </p:nvPr>
        </p:nvGraphicFramePr>
        <p:xfrm>
          <a:off x="359999" y="900000"/>
          <a:ext cx="8424000" cy="72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FF0A5-4176-4E93-977D-E08B3C2ECD77}" type="datetime1">
              <a:rPr lang="fr-FR" smtClean="0"/>
              <a:t>08/11/2023</a:t>
            </a:fld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2</a:t>
            </a:fld>
            <a:endParaRPr lang="fr-FR"/>
          </a:p>
        </p:txBody>
      </p:sp>
      <p:graphicFrame>
        <p:nvGraphicFramePr>
          <p:cNvPr id="8" name="Espace réservé du contenu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65023089"/>
              </p:ext>
            </p:extLst>
          </p:nvPr>
        </p:nvGraphicFramePr>
        <p:xfrm>
          <a:off x="359999" y="900000"/>
          <a:ext cx="8423639" cy="42435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375675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me 8"/>
          <p:cNvGraphicFramePr/>
          <p:nvPr/>
        </p:nvGraphicFramePr>
        <p:xfrm>
          <a:off x="359999" y="900000"/>
          <a:ext cx="8424000" cy="72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FF0A5-4176-4E93-977D-E08B3C2ECD77}" type="datetime1">
              <a:rPr lang="fr-FR" smtClean="0"/>
              <a:t>08/11/2023</a:t>
            </a:fld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7" name="ZoneTexte 6"/>
          <p:cNvSpPr txBox="1"/>
          <p:nvPr/>
        </p:nvSpPr>
        <p:spPr>
          <a:xfrm>
            <a:off x="251520" y="4454242"/>
            <a:ext cx="26642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800" dirty="0" smtClean="0"/>
              <a:t>* Permettre </a:t>
            </a:r>
            <a:r>
              <a:rPr lang="fr-FR" sz="800" dirty="0"/>
              <a:t>l’inscription de cette formation sur une double entrée « collection »</a:t>
            </a:r>
          </a:p>
        </p:txBody>
      </p:sp>
      <p:graphicFrame>
        <p:nvGraphicFramePr>
          <p:cNvPr id="8" name="Espace réservé du contenu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87810871"/>
              </p:ext>
            </p:extLst>
          </p:nvPr>
        </p:nvGraphicFramePr>
        <p:xfrm>
          <a:off x="360363" y="1836738"/>
          <a:ext cx="8423275" cy="25733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450001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me 8"/>
          <p:cNvGraphicFramePr/>
          <p:nvPr>
            <p:extLst>
              <p:ext uri="{D42A27DB-BD31-4B8C-83A1-F6EECF244321}">
                <p14:modId xmlns:p14="http://schemas.microsoft.com/office/powerpoint/2010/main" val="1883413208"/>
              </p:ext>
            </p:extLst>
          </p:nvPr>
        </p:nvGraphicFramePr>
        <p:xfrm>
          <a:off x="359999" y="900000"/>
          <a:ext cx="8424000" cy="72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FF0A5-4176-4E93-977D-E08B3C2ECD77}" type="datetime1">
              <a:rPr lang="fr-FR" smtClean="0"/>
              <a:t>08/11/2023</a:t>
            </a:fld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042473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FF0A5-4176-4E93-977D-E08B3C2ECD77}" type="datetime1">
              <a:rPr lang="fr-FR" smtClean="0"/>
              <a:t>08/11/2023</a:t>
            </a:fld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5</a:t>
            </a:fld>
            <a:endParaRPr lang="fr-FR"/>
          </a:p>
        </p:txBody>
      </p:sp>
      <p:graphicFrame>
        <p:nvGraphicFramePr>
          <p:cNvPr id="3" name="Diagramme 2"/>
          <p:cNvGraphicFramePr/>
          <p:nvPr>
            <p:extLst>
              <p:ext uri="{D42A27DB-BD31-4B8C-83A1-F6EECF244321}">
                <p14:modId xmlns:p14="http://schemas.microsoft.com/office/powerpoint/2010/main" val="3011763247"/>
              </p:ext>
            </p:extLst>
          </p:nvPr>
        </p:nvGraphicFramePr>
        <p:xfrm>
          <a:off x="920864" y="383488"/>
          <a:ext cx="7350543" cy="72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6" name="Groupe 5"/>
          <p:cNvGrpSpPr/>
          <p:nvPr/>
        </p:nvGrpSpPr>
        <p:grpSpPr>
          <a:xfrm>
            <a:off x="920865" y="1275606"/>
            <a:ext cx="7350543" cy="987319"/>
            <a:chOff x="515501" y="227670"/>
            <a:chExt cx="7350543" cy="612853"/>
          </a:xfrm>
        </p:grpSpPr>
        <p:sp>
          <p:nvSpPr>
            <p:cNvPr id="14" name="Rectangle à coins arrondis 13"/>
            <p:cNvSpPr/>
            <p:nvPr/>
          </p:nvSpPr>
          <p:spPr>
            <a:xfrm>
              <a:off x="515501" y="227670"/>
              <a:ext cx="7350543" cy="612853"/>
            </a:xfrm>
            <a:prstGeom prst="round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ZoneTexte 14"/>
            <p:cNvSpPr txBox="1"/>
            <p:nvPr/>
          </p:nvSpPr>
          <p:spPr>
            <a:xfrm>
              <a:off x="545418" y="257587"/>
              <a:ext cx="7290709" cy="55301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200" kern="1200" dirty="0" smtClean="0"/>
                <a:t>1 - module de e-learning (distance / asynchrone) incluant des activités en un nombre limité afin de conserver un format relativement court</a:t>
              </a:r>
            </a:p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200" kern="1200" dirty="0" smtClean="0"/>
                <a:t>objectif : maîtriser les enjeux, la réglementation et les leviers d'action de la transition énergétique</a:t>
              </a:r>
              <a:endParaRPr lang="fr-FR" sz="1200" kern="1200" dirty="0"/>
            </a:p>
          </p:txBody>
        </p:sp>
      </p:grpSp>
      <p:grpSp>
        <p:nvGrpSpPr>
          <p:cNvPr id="7" name="Groupe 6"/>
          <p:cNvGrpSpPr/>
          <p:nvPr/>
        </p:nvGrpSpPr>
        <p:grpSpPr>
          <a:xfrm>
            <a:off x="920865" y="2366653"/>
            <a:ext cx="7350543" cy="1140394"/>
            <a:chOff x="515501" y="873265"/>
            <a:chExt cx="7350543" cy="641113"/>
          </a:xfrm>
        </p:grpSpPr>
        <p:sp>
          <p:nvSpPr>
            <p:cNvPr id="12" name="Rectangle à coins arrondis 11"/>
            <p:cNvSpPr/>
            <p:nvPr/>
          </p:nvSpPr>
          <p:spPr>
            <a:xfrm>
              <a:off x="515501" y="873265"/>
              <a:ext cx="7350543" cy="641113"/>
            </a:xfrm>
            <a:prstGeom prst="round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ZoneTexte 12"/>
            <p:cNvSpPr txBox="1"/>
            <p:nvPr/>
          </p:nvSpPr>
          <p:spPr>
            <a:xfrm>
              <a:off x="546798" y="904562"/>
              <a:ext cx="7287949" cy="57851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200" kern="1200" dirty="0" smtClean="0"/>
                <a:t>2 -  module comprenant webinaires thématiques et conférences (distance / synchrone) et les </a:t>
              </a:r>
              <a:r>
                <a:rPr lang="fr-FR" sz="1200" kern="1200" dirty="0" err="1" smtClean="0"/>
                <a:t>replays</a:t>
              </a:r>
              <a:r>
                <a:rPr lang="fr-FR" sz="1200" kern="1200" dirty="0" smtClean="0"/>
                <a:t> accessibles. Mutualisation des offres de formation</a:t>
              </a:r>
            </a:p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200" kern="1200" dirty="0" smtClean="0"/>
                <a:t>objectif : connaître les grands principes et l'actualité de chaque thématique traitée</a:t>
              </a:r>
              <a:br>
                <a:rPr lang="fr-FR" sz="1200" kern="1200" dirty="0" smtClean="0"/>
              </a:br>
              <a:r>
                <a:rPr lang="fr-FR" sz="1200" kern="1200" dirty="0" smtClean="0"/>
                <a:t>+ex : « quels acteurs et quels outils pour accompagner la transition énergétique dans les services de l'Etat ?"</a:t>
              </a:r>
              <a:endParaRPr lang="fr-FR" sz="1200" kern="1200" dirty="0"/>
            </a:p>
          </p:txBody>
        </p:sp>
      </p:grpSp>
      <p:grpSp>
        <p:nvGrpSpPr>
          <p:cNvPr id="9" name="Groupe 8"/>
          <p:cNvGrpSpPr/>
          <p:nvPr/>
        </p:nvGrpSpPr>
        <p:grpSpPr>
          <a:xfrm>
            <a:off x="922421" y="3651870"/>
            <a:ext cx="7350543" cy="959512"/>
            <a:chOff x="467228" y="1580885"/>
            <a:chExt cx="7350543" cy="490140"/>
          </a:xfrm>
        </p:grpSpPr>
        <p:sp>
          <p:nvSpPr>
            <p:cNvPr id="10" name="Rectangle à coins arrondis 9"/>
            <p:cNvSpPr/>
            <p:nvPr/>
          </p:nvSpPr>
          <p:spPr>
            <a:xfrm>
              <a:off x="467228" y="1580885"/>
              <a:ext cx="7350543" cy="490140"/>
            </a:xfrm>
            <a:prstGeom prst="round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ZoneTexte 10"/>
            <p:cNvSpPr txBox="1"/>
            <p:nvPr/>
          </p:nvSpPr>
          <p:spPr>
            <a:xfrm>
              <a:off x="491155" y="1604812"/>
              <a:ext cx="7302689" cy="4422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200" kern="1200" dirty="0" smtClean="0"/>
                <a:t>3 - Une activité pédagogique en présentiel axé sur la pratique, la </a:t>
              </a:r>
              <a:r>
                <a:rPr lang="fr-FR" sz="1200" kern="1200" dirty="0" err="1" smtClean="0"/>
                <a:t>co</a:t>
              </a:r>
              <a:r>
                <a:rPr lang="fr-FR" sz="1200" kern="1200" dirty="0" smtClean="0"/>
                <a:t>-construction et le partage de pratiques. </a:t>
              </a:r>
            </a:p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1200" kern="1200" dirty="0" smtClean="0"/>
                <a:t>Objectif visé : le passage à l’action.</a:t>
              </a:r>
              <a:endParaRPr lang="fr-FR" sz="12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830272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me 5"/>
          <p:cNvGraphicFramePr/>
          <p:nvPr>
            <p:extLst>
              <p:ext uri="{D42A27DB-BD31-4B8C-83A1-F6EECF244321}">
                <p14:modId xmlns:p14="http://schemas.microsoft.com/office/powerpoint/2010/main" val="1432121356"/>
              </p:ext>
            </p:extLst>
          </p:nvPr>
        </p:nvGraphicFramePr>
        <p:xfrm>
          <a:off x="359999" y="900000"/>
          <a:ext cx="8424000" cy="72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dirty="0" smtClean="0"/>
              <a:t>Choix de l’outil de développement : Livre Moodle, </a:t>
            </a:r>
            <a:r>
              <a:rPr lang="fr-FR" dirty="0" err="1" smtClean="0"/>
              <a:t>Scenari</a:t>
            </a:r>
            <a:r>
              <a:rPr lang="fr-FR" dirty="0" smtClean="0"/>
              <a:t> modèle Opale, </a:t>
            </a:r>
            <a:r>
              <a:rPr lang="fr-FR" b="1" dirty="0" err="1" smtClean="0"/>
              <a:t>Articulate</a:t>
            </a:r>
            <a:r>
              <a:rPr lang="fr-FR" b="1" dirty="0" smtClean="0"/>
              <a:t> Rise </a:t>
            </a:r>
            <a:r>
              <a:rPr lang="fr-FR" b="1" dirty="0" err="1" smtClean="0"/>
              <a:t>microlearning</a:t>
            </a:r>
            <a:endParaRPr lang="fr-FR" b="1" dirty="0" smtClean="0"/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dirty="0" smtClean="0"/>
              <a:t>Choix du format du cours : Tuiles ou </a:t>
            </a:r>
            <a:r>
              <a:rPr lang="fr-FR" b="1" dirty="0" smtClean="0"/>
              <a:t>Thématique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dirty="0" smtClean="0"/>
              <a:t>Objectif</a:t>
            </a:r>
            <a:r>
              <a:rPr lang="fr-FR" b="1" dirty="0" smtClean="0"/>
              <a:t> </a:t>
            </a:r>
            <a:r>
              <a:rPr lang="fr-FR" dirty="0" smtClean="0"/>
              <a:t>d’</a:t>
            </a:r>
            <a:r>
              <a:rPr lang="fr-FR" b="1" dirty="0" smtClean="0"/>
              <a:t>Accessibilité</a:t>
            </a:r>
            <a:r>
              <a:rPr lang="fr-FR" dirty="0" smtClean="0"/>
              <a:t> </a:t>
            </a:r>
            <a:r>
              <a:rPr lang="fr-FR" b="1" dirty="0" smtClean="0"/>
              <a:t>Numérique</a:t>
            </a:r>
            <a:r>
              <a:rPr lang="fr-FR" dirty="0" smtClean="0"/>
              <a:t> maximale (</a:t>
            </a:r>
            <a:r>
              <a:rPr lang="fr-FR" b="1" dirty="0"/>
              <a:t>Activités H5P</a:t>
            </a:r>
            <a:r>
              <a:rPr lang="fr-FR" dirty="0"/>
              <a:t> ou Articulate360 +cas </a:t>
            </a:r>
            <a:r>
              <a:rPr lang="fr-FR" b="1" dirty="0" smtClean="0"/>
              <a:t>vidéos)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b="1" dirty="0" smtClean="0"/>
              <a:t>Dispositif pédagogique : Sondage</a:t>
            </a:r>
            <a:r>
              <a:rPr lang="fr-FR" dirty="0" smtClean="0"/>
              <a:t>s </a:t>
            </a:r>
            <a:r>
              <a:rPr lang="fr-FR" dirty="0"/>
              <a:t>en entrée de </a:t>
            </a:r>
            <a:r>
              <a:rPr lang="fr-FR" dirty="0" smtClean="0"/>
              <a:t>formation, quizz, </a:t>
            </a:r>
            <a:r>
              <a:rPr lang="fr-FR" dirty="0" err="1" smtClean="0"/>
              <a:t>distanciel</a:t>
            </a:r>
            <a:r>
              <a:rPr lang="fr-FR" dirty="0" smtClean="0"/>
              <a:t> et présentiel (cas pratique)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fr-FR" dirty="0"/>
              <a:t>Une expertise technique nécessaire à tous projet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fr-FR" dirty="0"/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fr-FR" b="1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FF0A5-4176-4E93-977D-E08B3C2ECD77}" type="datetime1">
              <a:rPr lang="fr-FR" smtClean="0"/>
              <a:t>08/11/2023</a:t>
            </a:fld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272412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me 2"/>
          <p:cNvGraphicFramePr/>
          <p:nvPr>
            <p:extLst>
              <p:ext uri="{D42A27DB-BD31-4B8C-83A1-F6EECF244321}">
                <p14:modId xmlns:p14="http://schemas.microsoft.com/office/powerpoint/2010/main" val="2270543713"/>
              </p:ext>
            </p:extLst>
          </p:nvPr>
        </p:nvGraphicFramePr>
        <p:xfrm>
          <a:off x="899592" y="576795"/>
          <a:ext cx="7884408" cy="72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03AEF7-E9AD-483C-A651-408DB97BF7EE}" type="datetime1">
              <a:rPr lang="fr-FR" smtClean="0"/>
              <a:t>08/11/2023</a:t>
            </a:fld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7</a:t>
            </a:fld>
            <a:endParaRPr lang="fr-FR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9592" y="1707654"/>
            <a:ext cx="1932411" cy="2164011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15816" y="1711425"/>
            <a:ext cx="5533130" cy="2160240"/>
          </a:xfrm>
          <a:prstGeom prst="rect">
            <a:avLst/>
          </a:prstGeom>
        </p:spPr>
      </p:pic>
      <p:sp>
        <p:nvSpPr>
          <p:cNvPr id="9" name="ZoneTexte 8"/>
          <p:cNvSpPr txBox="1"/>
          <p:nvPr/>
        </p:nvSpPr>
        <p:spPr>
          <a:xfrm>
            <a:off x="899592" y="1296795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 smtClean="0"/>
              <a:t>Un exemple d’activités</a:t>
            </a:r>
            <a:endParaRPr lang="fr-FR" sz="1200" dirty="0"/>
          </a:p>
        </p:txBody>
      </p:sp>
      <p:sp>
        <p:nvSpPr>
          <p:cNvPr id="10" name="ZoneTexte 9"/>
          <p:cNvSpPr txBox="1"/>
          <p:nvPr/>
        </p:nvSpPr>
        <p:spPr>
          <a:xfrm>
            <a:off x="2915816" y="1296794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 smtClean="0"/>
              <a:t>Les témoignages</a:t>
            </a:r>
            <a:endParaRPr lang="fr-FR" sz="1200" dirty="0"/>
          </a:p>
        </p:txBody>
      </p:sp>
    </p:spTree>
    <p:extLst>
      <p:ext uri="{BB962C8B-B14F-4D97-AF65-F5344CB8AC3E}">
        <p14:creationId xmlns:p14="http://schemas.microsoft.com/office/powerpoint/2010/main" val="4264680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me 5"/>
          <p:cNvGraphicFramePr/>
          <p:nvPr>
            <p:extLst>
              <p:ext uri="{D42A27DB-BD31-4B8C-83A1-F6EECF244321}">
                <p14:modId xmlns:p14="http://schemas.microsoft.com/office/powerpoint/2010/main" val="1063060757"/>
              </p:ext>
            </p:extLst>
          </p:nvPr>
        </p:nvGraphicFramePr>
        <p:xfrm>
          <a:off x="359999" y="900000"/>
          <a:ext cx="8424000" cy="72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FF0A5-4176-4E93-977D-E08B3C2ECD77}" type="datetime1">
              <a:rPr lang="fr-FR" smtClean="0"/>
              <a:t>08/11/2023</a:t>
            </a:fld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8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sz="1300" b="1" dirty="0" smtClean="0"/>
              <a:t>Conditions </a:t>
            </a:r>
            <a:r>
              <a:rPr lang="fr-FR" sz="1300" b="1" dirty="0" smtClean="0"/>
              <a:t>de réussi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300" dirty="0" smtClean="0"/>
              <a:t>Une équipe projet solide : Moa, </a:t>
            </a:r>
            <a:r>
              <a:rPr lang="fr-FR" sz="1300" dirty="0" err="1" smtClean="0"/>
              <a:t>expert.e.s</a:t>
            </a:r>
            <a:r>
              <a:rPr lang="fr-FR" sz="1300" dirty="0" smtClean="0"/>
              <a:t> métiers, </a:t>
            </a:r>
            <a:r>
              <a:rPr lang="fr-FR" sz="1300" dirty="0" err="1" smtClean="0"/>
              <a:t>expert.e.s</a:t>
            </a:r>
            <a:r>
              <a:rPr lang="fr-FR" sz="1300" dirty="0" smtClean="0"/>
              <a:t> technique, </a:t>
            </a:r>
            <a:r>
              <a:rPr lang="fr-FR" sz="1300" dirty="0" err="1" smtClean="0"/>
              <a:t>concepteur.trice</a:t>
            </a:r>
            <a:r>
              <a:rPr lang="fr-FR" sz="1300" dirty="0" smtClean="0"/>
              <a:t> pédagogique, un pilo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300" dirty="0" smtClean="0"/>
              <a:t>Une </a:t>
            </a:r>
            <a:r>
              <a:rPr lang="fr-FR" sz="1300" dirty="0"/>
              <a:t>réunion hebdomadaire d’une heure de l’équipe projet de février à </a:t>
            </a:r>
            <a:r>
              <a:rPr lang="fr-FR" sz="1300" dirty="0" smtClean="0"/>
              <a:t>juillet 2023</a:t>
            </a:r>
            <a:endParaRPr lang="fr-FR" sz="13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300" dirty="0" smtClean="0"/>
              <a:t>Étapes de validation planifiées, </a:t>
            </a:r>
            <a:r>
              <a:rPr lang="fr-FR" sz="1300" dirty="0" smtClean="0"/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300" dirty="0" smtClean="0"/>
              <a:t>Une </a:t>
            </a:r>
            <a:r>
              <a:rPr lang="fr-FR" sz="1300" dirty="0"/>
              <a:t>démarche pragmatique et progressive, avec une mise en production au fur et à mesure de la finalisation des modules</a:t>
            </a:r>
            <a:endParaRPr lang="fr-FR" sz="1300" dirty="0" smtClean="0"/>
          </a:p>
          <a:p>
            <a:r>
              <a:rPr lang="fr-FR" sz="1300" b="1" dirty="0" smtClean="0"/>
              <a:t>Calendrier</a:t>
            </a:r>
            <a:endParaRPr lang="fr-FR" sz="13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300" dirty="0" smtClean="0"/>
              <a:t>Déploiement du module e-learning : octobre 202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300" dirty="0" smtClean="0"/>
              <a:t>Premier atelier de pratique : février/mars </a:t>
            </a:r>
            <a:r>
              <a:rPr lang="fr-FR" sz="1300" dirty="0" smtClean="0"/>
              <a:t>2024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300" dirty="0"/>
              <a:t>Cycle de vie de la </a:t>
            </a:r>
            <a:r>
              <a:rPr lang="fr-FR" sz="1300" dirty="0" smtClean="0"/>
              <a:t>form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300" dirty="0" smtClean="0"/>
              <a:t>Communication</a:t>
            </a:r>
            <a:endParaRPr lang="fr-FR" sz="13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300" dirty="0"/>
          </a:p>
        </p:txBody>
      </p:sp>
    </p:spTree>
    <p:extLst>
      <p:ext uri="{BB962C8B-B14F-4D97-AF65-F5344CB8AC3E}">
        <p14:creationId xmlns:p14="http://schemas.microsoft.com/office/powerpoint/2010/main" val="8109591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QGLOHQdUuKTn48MP9N5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NISTÈRIEL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GOUVERNEMENT PPT">
      <a:majorFont>
        <a:latin typeface="Marianne"/>
        <a:ea typeface=""/>
        <a:cs typeface=""/>
      </a:majorFont>
      <a:minorFont>
        <a:latin typeface="Mariann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A4_RBSC_PPT">
  <a:themeElements>
    <a:clrScheme name="AAAA">
      <a:dk1>
        <a:srgbClr val="000000"/>
      </a:dk1>
      <a:lt1>
        <a:srgbClr val="FFFFFF"/>
      </a:lt1>
      <a:dk2>
        <a:srgbClr val="1D4896"/>
      </a:dk2>
      <a:lt2>
        <a:srgbClr val="808080"/>
      </a:lt2>
      <a:accent1>
        <a:srgbClr val="D6D6D0"/>
      </a:accent1>
      <a:accent2>
        <a:srgbClr val="E32624"/>
      </a:accent2>
      <a:accent3>
        <a:srgbClr val="808080"/>
      </a:accent3>
      <a:accent4>
        <a:srgbClr val="000000"/>
      </a:accent4>
      <a:accent5>
        <a:srgbClr val="E8E8E4"/>
      </a:accent5>
      <a:accent6>
        <a:srgbClr val="CE2120"/>
      </a:accent6>
      <a:hlink>
        <a:srgbClr val="00B1E6"/>
      </a:hlink>
      <a:folHlink>
        <a:srgbClr val="FABB0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3"/>
          </a:solidFill>
        </a:ln>
        <a:effectLst/>
      </a:spPr>
      <a:bodyPr lIns="72000" tIns="72000" rIns="72000" bIns="108000" rtlCol="0" anchor="t" anchorCtr="0">
        <a:noAutofit/>
      </a:bodyPr>
      <a:lstStyle>
        <a:defPPr algn="l">
          <a:lnSpc>
            <a:spcPct val="90000"/>
          </a:lnSpc>
          <a:spcBef>
            <a:spcPts val="400"/>
          </a:spcBef>
          <a:defRPr sz="1500" b="0" dirty="0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vert="horz" wrap="square" lIns="0" tIns="0" rIns="0" bIns="0" rtlCol="0">
        <a:spAutoFit/>
      </a:bodyPr>
      <a:lstStyle>
        <a:defPPr>
          <a:lnSpc>
            <a:spcPct val="90000"/>
          </a:lnSpc>
          <a:spcBef>
            <a:spcPts val="400"/>
          </a:spcBef>
          <a:buClr>
            <a:srgbClr val="000000"/>
          </a:buClr>
          <a:buSzPct val="100000"/>
          <a:defRPr sz="1500" b="0" noProof="0" dirty="0" smtClean="0">
            <a:latin typeface="+mn-lt"/>
            <a:cs typeface="Arial Narrow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ministeriel_marianne</Template>
  <TotalTime>11048</TotalTime>
  <Words>587</Words>
  <Application>Microsoft Office PowerPoint</Application>
  <PresentationFormat>Affichage à l'écran (16:9)</PresentationFormat>
  <Paragraphs>92</Paragraphs>
  <Slides>8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6" baseType="lpstr">
      <vt:lpstr>Arial</vt:lpstr>
      <vt:lpstr>Arial Narrow</vt:lpstr>
      <vt:lpstr>Marianne</vt:lpstr>
      <vt:lpstr>Wingdings</vt:lpstr>
      <vt:lpstr>ヒラギノ角ゴ Pro W3</vt:lpstr>
      <vt:lpstr>MINISTÈRIEL</vt:lpstr>
      <vt:lpstr>1_A4_RBSC_PPT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Manager>Client</Manager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Client</dc:subject>
  <dc:creator>FONDEVILLE Coralie</dc:creator>
  <cp:lastModifiedBy>WAECHTER Xavier</cp:lastModifiedBy>
  <cp:revision>938</cp:revision>
  <cp:lastPrinted>2023-06-28T12:44:51Z</cp:lastPrinted>
  <dcterms:created xsi:type="dcterms:W3CDTF">2020-02-27T14:35:46Z</dcterms:created>
  <dcterms:modified xsi:type="dcterms:W3CDTF">2023-11-09T07:50:11Z</dcterms:modified>
</cp:coreProperties>
</file>